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60" r:id="rId4"/>
  </p:sldMasterIdLst>
  <p:notesMasterIdLst>
    <p:notesMasterId r:id="rId14"/>
  </p:notesMasterIdLst>
  <p:sldIdLst>
    <p:sldId id="271" r:id="rId5"/>
    <p:sldId id="256" r:id="rId6"/>
    <p:sldId id="277" r:id="rId7"/>
    <p:sldId id="273" r:id="rId8"/>
    <p:sldId id="274" r:id="rId9"/>
    <p:sldId id="261" r:id="rId10"/>
    <p:sldId id="275" r:id="rId11"/>
    <p:sldId id="278" r:id="rId12"/>
    <p:sldId id="258" r:id="rId13"/>
  </p:sldIdLst>
  <p:sldSz cx="12192000" cy="6858000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Verdana" panose="020B060403050404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608" autoAdjust="0"/>
    <p:restoredTop sz="93792" autoAdjust="0"/>
  </p:normalViewPr>
  <p:slideViewPr>
    <p:cSldViewPr snapToGrid="0" snapToObjects="1">
      <p:cViewPr varScale="1">
        <p:scale>
          <a:sx n="67" d="100"/>
          <a:sy n="67" d="100"/>
        </p:scale>
        <p:origin x="276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4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agbamigbea\AppData\Roaming\Microsoft\Excel\2014%20NATIONAL%20SYPHILIS%20SENTINEL,%20NIGERIA%20-FINAL%20AUGUST%20%20%202015%20(version%201)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worldhealthorg-my.sharepoint.com/personal/johnsonc_who_int/Documents/HTS%20Team%20Folder/GAM/GAM%20Files%202022/Maggie/NCPI_A2_HIVtesting_extract7June2022_MBD_consolidated_6.29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921466775360899"/>
          <c:y val="3.6173405195756403E-2"/>
          <c:w val="0.46623031574342899"/>
          <c:h val="0.8363866514586439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illbirths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dverse birth outcomes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4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38-40F9-A0BC-21EDD15305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fected children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dverse birth outcomes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0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38-40F9-A0BC-21EDD15305E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onatal Deaths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dverse birth outcomes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6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338-40F9-A0BC-21EDD15305E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eterm/low weight births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Adverse birth outcomes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4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338-40F9-A0BC-21EDD15305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2155392"/>
        <c:axId val="102156928"/>
      </c:barChart>
      <c:catAx>
        <c:axId val="102155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2156928"/>
        <c:crosses val="autoZero"/>
        <c:auto val="1"/>
        <c:lblAlgn val="ctr"/>
        <c:lblOffset val="100"/>
        <c:noMultiLvlLbl val="0"/>
      </c:catAx>
      <c:valAx>
        <c:axId val="102156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2155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0432860056142856"/>
          <c:y val="8.347184485567137E-2"/>
          <c:w val="0.31879374279238099"/>
          <c:h val="0.71105673607301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en-US" sz="1300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/Syphilis ANC Testing Coverage in Selected Countries </a:t>
            </a:r>
          </a:p>
          <a:p>
            <a:pPr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en-US" sz="1300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19)</a:t>
            </a:r>
          </a:p>
        </c:rich>
      </c:tx>
      <c:layout>
        <c:manualLayout>
          <c:xMode val="edge"/>
          <c:yMode val="edge"/>
          <c:x val="0.2355824223959283"/>
          <c:y val="1.199541057480449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5.519429780193897E-2"/>
          <c:y val="0.12638536858242555"/>
          <c:w val="0.92265756992819004"/>
          <c:h val="0.671337096679515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yphilis</c:v>
                </c:pt>
              </c:strCache>
            </c:strRef>
          </c:tx>
          <c:spPr>
            <a:solidFill>
              <a:srgbClr val="076382">
                <a:lumMod val="75000"/>
              </a:srgbClr>
            </a:solidFill>
          </c:spPr>
          <c:invertIfNegative val="0"/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1C2-4DA8-B6B1-82E1637238A2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Zambia</c:v>
                </c:pt>
                <c:pt idx="1">
                  <c:v>South Africa</c:v>
                </c:pt>
                <c:pt idx="2">
                  <c:v>Uganda</c:v>
                </c:pt>
                <c:pt idx="3">
                  <c:v>Mozambique</c:v>
                </c:pt>
                <c:pt idx="4">
                  <c:v>Malawi</c:v>
                </c:pt>
                <c:pt idx="5">
                  <c:v>Ethiopia</c:v>
                </c:pt>
                <c:pt idx="6">
                  <c:v>India</c:v>
                </c:pt>
                <c:pt idx="7">
                  <c:v>Nigeria</c:v>
                </c:pt>
              </c:strCache>
            </c:strRef>
          </c:cat>
          <c:val>
            <c:numRef>
              <c:f>Sheet1!$B$2:$B$9</c:f>
              <c:numCache>
                <c:formatCode>_(* #,##0.00_);_(* \(#,##0.00\);_(* "-"??_);_(@_)</c:formatCode>
                <c:ptCount val="8"/>
                <c:pt idx="0">
                  <c:v>0.502</c:v>
                </c:pt>
                <c:pt idx="1">
                  <c:v>0.75</c:v>
                </c:pt>
                <c:pt idx="2">
                  <c:v>0.17199999999999999</c:v>
                </c:pt>
                <c:pt idx="3">
                  <c:v>0.46299999999999997</c:v>
                </c:pt>
                <c:pt idx="4">
                  <c:v>0.1</c:v>
                </c:pt>
                <c:pt idx="5">
                  <c:v>0.28100000000000003</c:v>
                </c:pt>
                <c:pt idx="6">
                  <c:v>0.3</c:v>
                </c:pt>
                <c:pt idx="7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1C2-4DA8-B6B1-82E1637238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417795240"/>
        <c:axId val="41779563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HIV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dLbls>
            <c:dLbl>
              <c:idx val="0"/>
              <c:layout>
                <c:manualLayout>
                  <c:x val="-3.1380880121396101E-2"/>
                  <c:y val="3.48070380091377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1C2-4DA8-B6B1-82E1637238A2}"/>
                </c:ext>
              </c:extLst>
            </c:dLbl>
            <c:dLbl>
              <c:idx val="2"/>
              <c:numFmt formatCode="0%" sourceLinked="0"/>
              <c:spPr/>
              <c:txPr>
                <a:bodyPr/>
                <a:lstStyle/>
                <a:p>
                  <a:pPr>
                    <a:defRPr sz="140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numFmt formatCode="0%" sourceLinked="0"/>
              <c:spPr/>
              <c:txPr>
                <a:bodyPr/>
                <a:lstStyle/>
                <a:p>
                  <a:pPr>
                    <a:defRPr sz="140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tx>
                <c:rich>
                  <a:bodyPr/>
                  <a:lstStyle/>
                  <a:p>
                    <a:pPr>
                      <a:defRPr sz="140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66%</a:t>
                    </a:r>
                  </a:p>
                </c:rich>
              </c:tx>
              <c:numFmt formatCode="0%" sourceLinked="0"/>
              <c:spPr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91C2-4DA8-B6B1-82E1637238A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Zambia</c:v>
                </c:pt>
                <c:pt idx="1">
                  <c:v>South Africa</c:v>
                </c:pt>
                <c:pt idx="2">
                  <c:v>Uganda</c:v>
                </c:pt>
                <c:pt idx="3">
                  <c:v>Mozambique</c:v>
                </c:pt>
                <c:pt idx="4">
                  <c:v>Malawi</c:v>
                </c:pt>
                <c:pt idx="5">
                  <c:v>Ethiopia</c:v>
                </c:pt>
                <c:pt idx="6">
                  <c:v>India</c:v>
                </c:pt>
                <c:pt idx="7">
                  <c:v>Nigeria</c:v>
                </c:pt>
              </c:strCache>
            </c:strRef>
          </c:cat>
          <c:val>
            <c:numRef>
              <c:f>Sheet1!$C$2:$C$9</c:f>
              <c:numCache>
                <c:formatCode>_(* #,##0.00_);_(* \(#,##0.00\);_(* "-"??_);_(@_)</c:formatCode>
                <c:ptCount val="8"/>
                <c:pt idx="0">
                  <c:v>1</c:v>
                </c:pt>
                <c:pt idx="1">
                  <c:v>0.95</c:v>
                </c:pt>
                <c:pt idx="2">
                  <c:v>0.93</c:v>
                </c:pt>
                <c:pt idx="3">
                  <c:v>0.85</c:v>
                </c:pt>
                <c:pt idx="4">
                  <c:v>0.83</c:v>
                </c:pt>
                <c:pt idx="5">
                  <c:v>0.7</c:v>
                </c:pt>
                <c:pt idx="6">
                  <c:v>0.68</c:v>
                </c:pt>
                <c:pt idx="7">
                  <c:v>0.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91C2-4DA8-B6B1-82E163723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795240"/>
        <c:axId val="417795632"/>
      </c:lineChart>
      <c:catAx>
        <c:axId val="4177952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417795632"/>
        <c:crosses val="autoZero"/>
        <c:auto val="1"/>
        <c:lblAlgn val="ctr"/>
        <c:lblOffset val="100"/>
        <c:noMultiLvlLbl val="0"/>
      </c:catAx>
      <c:valAx>
        <c:axId val="417795632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4177952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73462547829447367"/>
          <c:y val="0.93152504136262149"/>
          <c:w val="0.25179641442328904"/>
          <c:h val="6.1207426779811891E-2"/>
        </c:manualLayout>
      </c:layout>
      <c:overlay val="0"/>
      <c:txPr>
        <a:bodyPr/>
        <a:lstStyle/>
        <a:p>
          <a:pPr>
            <a:defRPr sz="1200">
              <a:latin typeface="Arial" panose="020B0604020202020204" pitchFamily="34" charset="0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ln>
      <a:solidFill>
        <a:srgbClr val="002060"/>
      </a:solidFill>
    </a:ln>
  </c:spPr>
  <c:txPr>
    <a:bodyPr/>
    <a:lstStyle/>
    <a:p>
      <a:pPr>
        <a:defRPr sz="10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723065458681421E-2"/>
          <c:y val="5.4216539431209264E-2"/>
          <c:w val="0.89376997784053025"/>
          <c:h val="0.758725910687923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2!$T$1</c:f>
              <c:strCache>
                <c:ptCount val="1"/>
                <c:pt idx="0">
                  <c:v>Urb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S$2:$S$7</c:f>
              <c:strCache>
                <c:ptCount val="6"/>
                <c:pt idx="0">
                  <c:v>North Central</c:v>
                </c:pt>
                <c:pt idx="1">
                  <c:v>North East</c:v>
                </c:pt>
                <c:pt idx="2">
                  <c:v>North West</c:v>
                </c:pt>
                <c:pt idx="3">
                  <c:v>South East</c:v>
                </c:pt>
                <c:pt idx="4">
                  <c:v>South South</c:v>
                </c:pt>
                <c:pt idx="5">
                  <c:v>South West</c:v>
                </c:pt>
              </c:strCache>
            </c:strRef>
          </c:cat>
          <c:val>
            <c:numRef>
              <c:f>Sheet2!$T$2:$T$7</c:f>
              <c:numCache>
                <c:formatCode>###0.0%</c:formatCode>
                <c:ptCount val="6"/>
                <c:pt idx="0" formatCode="####.0%">
                  <c:v>3.1374189500104586E-3</c:v>
                </c:pt>
                <c:pt idx="1">
                  <c:v>1.3008812421317668E-2</c:v>
                </c:pt>
                <c:pt idx="2" formatCode="####.0%">
                  <c:v>4.1675349031048128E-3</c:v>
                </c:pt>
                <c:pt idx="3" formatCode="####.0%">
                  <c:v>9.453471196454951E-3</c:v>
                </c:pt>
                <c:pt idx="4" formatCode="####.0%">
                  <c:v>9.9236641221374048E-3</c:v>
                </c:pt>
                <c:pt idx="5" formatCode="####.0%">
                  <c:v>3.489995346672871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E0-4942-B64F-3A10D59CECC7}"/>
            </c:ext>
          </c:extLst>
        </c:ser>
        <c:ser>
          <c:idx val="1"/>
          <c:order val="1"/>
          <c:tx>
            <c:strRef>
              <c:f>Sheet2!$U$1</c:f>
              <c:strCache>
                <c:ptCount val="1"/>
                <c:pt idx="0">
                  <c:v>Rur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S$2:$S$7</c:f>
              <c:strCache>
                <c:ptCount val="6"/>
                <c:pt idx="0">
                  <c:v>North Central</c:v>
                </c:pt>
                <c:pt idx="1">
                  <c:v>North East</c:v>
                </c:pt>
                <c:pt idx="2">
                  <c:v>North West</c:v>
                </c:pt>
                <c:pt idx="3">
                  <c:v>South East</c:v>
                </c:pt>
                <c:pt idx="4">
                  <c:v>South South</c:v>
                </c:pt>
                <c:pt idx="5">
                  <c:v>South West</c:v>
                </c:pt>
              </c:strCache>
            </c:strRef>
          </c:cat>
          <c:val>
            <c:numRef>
              <c:f>Sheet2!$U$2:$U$7</c:f>
              <c:numCache>
                <c:formatCode>###0.0%</c:formatCode>
                <c:ptCount val="6"/>
                <c:pt idx="0" formatCode="####.0%">
                  <c:v>4.5317220543806677E-3</c:v>
                </c:pt>
                <c:pt idx="1">
                  <c:v>1.1019283746556476E-2</c:v>
                </c:pt>
                <c:pt idx="2">
                  <c:v>1.4285714285714285E-2</c:v>
                </c:pt>
                <c:pt idx="3">
                  <c:v>1.8309859154929581E-2</c:v>
                </c:pt>
                <c:pt idx="4" formatCode="####.0%">
                  <c:v>7.0422535211267633E-3</c:v>
                </c:pt>
                <c:pt idx="5" formatCode="####.0%">
                  <c:v>2.051282051282051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E0-4942-B64F-3A10D59CECC7}"/>
            </c:ext>
          </c:extLst>
        </c:ser>
        <c:ser>
          <c:idx val="2"/>
          <c:order val="2"/>
          <c:tx>
            <c:strRef>
              <c:f>Sheet2!$V$1</c:f>
              <c:strCache>
                <c:ptCount val="1"/>
                <c:pt idx="0">
                  <c:v>Bot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S$2:$S$7</c:f>
              <c:strCache>
                <c:ptCount val="6"/>
                <c:pt idx="0">
                  <c:v>North Central</c:v>
                </c:pt>
                <c:pt idx="1">
                  <c:v>North East</c:v>
                </c:pt>
                <c:pt idx="2">
                  <c:v>North West</c:v>
                </c:pt>
                <c:pt idx="3">
                  <c:v>South East</c:v>
                </c:pt>
                <c:pt idx="4">
                  <c:v>South South</c:v>
                </c:pt>
                <c:pt idx="5">
                  <c:v>South West</c:v>
                </c:pt>
              </c:strCache>
            </c:strRef>
          </c:cat>
          <c:val>
            <c:numRef>
              <c:f>Sheet2!$V$2:$V$7</c:f>
              <c:numCache>
                <c:formatCode>###0.0%</c:formatCode>
                <c:ptCount val="6"/>
                <c:pt idx="0" formatCode="####.0%">
                  <c:v>3.546623319048323E-3</c:v>
                </c:pt>
                <c:pt idx="1">
                  <c:v>1.2384792626728112E-2</c:v>
                </c:pt>
                <c:pt idx="2" formatCode="####.0%">
                  <c:v>7.2474271633570092E-3</c:v>
                </c:pt>
                <c:pt idx="3">
                  <c:v>1.2070759625390221E-2</c:v>
                </c:pt>
                <c:pt idx="4" formatCode="####.0%">
                  <c:v>9.0027700831024973E-3</c:v>
                </c:pt>
                <c:pt idx="5" formatCode="####.0%">
                  <c:v>3.040973111395647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E0-4942-B64F-3A10D59CECC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493051840"/>
        <c:axId val="1493052928"/>
      </c:barChart>
      <c:catAx>
        <c:axId val="1493051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93052928"/>
        <c:crosses val="autoZero"/>
        <c:auto val="1"/>
        <c:lblAlgn val="ctr"/>
        <c:lblOffset val="100"/>
        <c:noMultiLvlLbl val="0"/>
      </c:catAx>
      <c:valAx>
        <c:axId val="1493052928"/>
        <c:scaling>
          <c:orientation val="minMax"/>
        </c:scaling>
        <c:delete val="0"/>
        <c:axPos val="l"/>
        <c:numFmt formatCode="####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93051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2242627672772878E-2"/>
          <c:y val="0.13529933225041535"/>
          <c:w val="0.9755147446544542"/>
          <c:h val="0.7429374365346325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49 WHO ANC dual test'!$F$7:$F$12</c:f>
              <c:strCache>
                <c:ptCount val="6"/>
                <c:pt idx="0">
                  <c:v>Africa</c:v>
                </c:pt>
                <c:pt idx="1">
                  <c:v>America</c:v>
                </c:pt>
                <c:pt idx="2">
                  <c:v>Eastern Mediterranean</c:v>
                </c:pt>
                <c:pt idx="3">
                  <c:v>Europe</c:v>
                </c:pt>
                <c:pt idx="4">
                  <c:v>South-East Asia</c:v>
                </c:pt>
                <c:pt idx="5">
                  <c:v>Western Pacific</c:v>
                </c:pt>
              </c:strCache>
            </c:strRef>
          </c:cat>
          <c:val>
            <c:numRef>
              <c:f>'Q49 WHO ANC dual test'!$G$7:$G$12</c:f>
              <c:numCache>
                <c:formatCode>General</c:formatCode>
                <c:ptCount val="6"/>
                <c:pt idx="0">
                  <c:v>34</c:v>
                </c:pt>
                <c:pt idx="1">
                  <c:v>13</c:v>
                </c:pt>
                <c:pt idx="2">
                  <c:v>4</c:v>
                </c:pt>
                <c:pt idx="3">
                  <c:v>4</c:v>
                </c:pt>
                <c:pt idx="4">
                  <c:v>2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E5-44FC-920C-A9E49C9BB0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43297096"/>
        <c:axId val="943297752"/>
      </c:barChart>
      <c:catAx>
        <c:axId val="943297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3297752"/>
        <c:crosses val="autoZero"/>
        <c:auto val="1"/>
        <c:lblAlgn val="ctr"/>
        <c:lblOffset val="100"/>
        <c:noMultiLvlLbl val="0"/>
      </c:catAx>
      <c:valAx>
        <c:axId val="943297752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43297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401</cdr:x>
      <cdr:y>0.62799</cdr:y>
    </cdr:from>
    <cdr:to>
      <cdr:x>0.45912</cdr:x>
      <cdr:y>0.7328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82971" y="2457233"/>
          <a:ext cx="664307" cy="4103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40%</a:t>
          </a:r>
        </a:p>
      </cdr:txBody>
    </cdr:sp>
  </cdr:relSizeAnchor>
  <cdr:relSizeAnchor xmlns:cdr="http://schemas.openxmlformats.org/drawingml/2006/chartDrawing">
    <cdr:from>
      <cdr:x>0.27459</cdr:x>
      <cdr:y>0.36334</cdr:y>
    </cdr:from>
    <cdr:to>
      <cdr:x>0.46023</cdr:x>
      <cdr:y>0.4632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104818" y="1455345"/>
          <a:ext cx="746927" cy="4000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30%</a:t>
          </a:r>
        </a:p>
      </cdr:txBody>
    </cdr:sp>
  </cdr:relSizeAnchor>
  <cdr:relSizeAnchor xmlns:cdr="http://schemas.openxmlformats.org/drawingml/2006/chartDrawing">
    <cdr:from>
      <cdr:x>0.2843</cdr:x>
      <cdr:y>0.17858</cdr:y>
    </cdr:from>
    <cdr:to>
      <cdr:x>0.45662</cdr:x>
      <cdr:y>0.26847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143887" y="715295"/>
          <a:ext cx="693344" cy="36005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0%</a:t>
          </a:r>
        </a:p>
      </cdr:txBody>
    </cdr:sp>
  </cdr:relSizeAnchor>
  <cdr:relSizeAnchor xmlns:cdr="http://schemas.openxmlformats.org/drawingml/2006/chartDrawing">
    <cdr:from>
      <cdr:x>0.27459</cdr:x>
      <cdr:y>0.04376</cdr:y>
    </cdr:from>
    <cdr:to>
      <cdr:x>0.47463</cdr:x>
      <cdr:y>0.114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104817" y="208045"/>
          <a:ext cx="804875" cy="3358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0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4D20E5-D8F7-594B-9D91-F763D43B9AF7}" type="datetimeFigureOut">
              <a:rPr lang="en-GB" smtClean="0"/>
              <a:t>22/07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E8DCDC-D13C-2549-BE6A-717E9EED41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2321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8DCDC-D13C-2549-BE6A-717E9EED41A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312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B309050-9054-D04E-9F48-6712928E9B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52E9838-9331-2646-832C-3F14E16166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527" y="-12526"/>
            <a:ext cx="5080000" cy="254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03CF88D-A3E6-2F46-9667-2E1662497E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3949" y="4075223"/>
            <a:ext cx="3790063" cy="247628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2097087"/>
            <a:ext cx="7632700" cy="4103687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C16089-C6C1-484F-807A-E6437A6C68CB}"/>
              </a:ext>
            </a:extLst>
          </p:cNvPr>
          <p:cNvSpPr txBox="1"/>
          <p:nvPr userDrawn="1"/>
        </p:nvSpPr>
        <p:spPr>
          <a:xfrm>
            <a:off x="8075613" y="0"/>
            <a:ext cx="3673474" cy="44132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4CE7B83-A267-FE4B-B22D-B04ED8CC9174}"/>
              </a:ext>
            </a:extLst>
          </p:cNvPr>
          <p:cNvSpPr txBox="1"/>
          <p:nvPr userDrawn="1"/>
        </p:nvSpPr>
        <p:spPr>
          <a:xfrm>
            <a:off x="4116389" y="-1"/>
            <a:ext cx="1763712" cy="44132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B60FDB-A672-194A-8015-15EF87CA8E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1231490"/>
            <a:ext cx="7632700" cy="433798"/>
          </a:xfrm>
        </p:spPr>
        <p:txBody>
          <a:bodyPr anchor="t">
            <a:normAutofit/>
          </a:bodyPr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IAS Ribbon Sans Bold" pitchFamily="2" charset="0"/>
              </a:defRPr>
            </a:lvl1pPr>
          </a:lstStyle>
          <a:p>
            <a:pPr lvl="0"/>
            <a:r>
              <a:rPr lang="en-GB" dirty="0"/>
              <a:t>Session na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5A5847-221C-FD44-96A5-ECB756A29F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6388" y="765175"/>
            <a:ext cx="7632700" cy="385199"/>
          </a:xfrm>
        </p:spPr>
        <p:txBody>
          <a:bodyPr anchor="b">
            <a:normAutofit/>
          </a:bodyPr>
          <a:lstStyle>
            <a:lvl1pPr>
              <a:defRPr sz="1600"/>
            </a:lvl1pPr>
          </a:lstStyle>
          <a:p>
            <a:pPr lvl="0"/>
            <a:r>
              <a:rPr lang="en-GB" dirty="0"/>
              <a:t>Presenter name &amp; affili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AF9883-2A5D-DB4A-BEBE-7B3D801EF74A}"/>
              </a:ext>
            </a:extLst>
          </p:cNvPr>
          <p:cNvSpPr txBox="1"/>
          <p:nvPr userDrawn="1"/>
        </p:nvSpPr>
        <p:spPr>
          <a:xfrm>
            <a:off x="6312024" y="1"/>
            <a:ext cx="1763589" cy="44132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</p:spTree>
    <p:extLst>
      <p:ext uri="{BB962C8B-B14F-4D97-AF65-F5344CB8AC3E}">
        <p14:creationId xmlns:p14="http://schemas.microsoft.com/office/powerpoint/2010/main" val="2264674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E6E968-03DB-5047-969A-43A70EB6F4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997201"/>
            <a:ext cx="5437187" cy="320357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B53F7F2-792C-5946-B26B-153D893CB5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3006253"/>
            <a:ext cx="5437188" cy="319452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77C5BB-ECCB-7A41-A232-01EA8F05C1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097088"/>
            <a:ext cx="5437187" cy="647700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accent1"/>
                </a:solidFill>
                <a:latin typeface="+mn-lt"/>
                <a:ea typeface="IAS Ribbon Sans 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aption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BAD9058-33A3-1840-83AB-734EB9C24F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1903" y="2097088"/>
            <a:ext cx="5437188" cy="647700"/>
          </a:xfrm>
        </p:spPr>
        <p:txBody>
          <a:bodyPr anchor="b">
            <a:normAutofit/>
          </a:bodyPr>
          <a:lstStyle>
            <a:lvl1pPr marL="0" indent="0">
              <a:buNone/>
              <a:defRPr sz="1800" b="1" i="0">
                <a:solidFill>
                  <a:schemeClr val="accent1"/>
                </a:solidFill>
                <a:latin typeface="+mn-lt"/>
                <a:ea typeface="IAS Ribbon Sans Bold" pitchFamily="2" charset="0"/>
              </a:defRPr>
            </a:lvl1pPr>
          </a:lstStyle>
          <a:p>
            <a:pPr lvl="0"/>
            <a:r>
              <a:rPr lang="en-GB" dirty="0"/>
              <a:t>Caption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63AB3E-8BB7-2D4E-9A4B-1FA373B92B4A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C75301D-79B8-304D-A9AB-978AFF907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EB2E94-95BD-AF4A-8CB8-DEF6AF2D71CC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903E21-8E3C-EA42-845E-ACA015593389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C38CBA2-8719-D043-A084-DE0E737BA2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429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 userDrawn="1">
          <p15:clr>
            <a:srgbClr val="FBAE40"/>
          </p15:clr>
        </p15:guide>
        <p15:guide id="2" orient="horz" pos="172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7A5833C-8FCE-AB4B-A9CF-A50F7A3B68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08527" y="520526"/>
            <a:ext cx="6096000" cy="6350000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097089"/>
            <a:ext cx="5437187" cy="4103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93976421-9C43-4A44-829D-511FFE024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CB34A3-C584-1046-8C17-AB1BCE2694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11903" y="2097091"/>
            <a:ext cx="5437188" cy="4103687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0FD6BC-85DA-4F47-A647-F2C427823D98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D34DC7-EE56-704B-BED2-428093484F64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1A06C6-814D-4A47-8F9A-552C373FA66E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F847C3-14BD-324D-A46A-F58ED3D20F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273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EB1B20-2713-DB46-A908-339A2ECBE6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9664" y="830004"/>
            <a:ext cx="6096000" cy="635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16F754-F487-1B41-808F-364ACB0AD6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B53F7F2-792C-5946-B26B-153D893CB5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2097091"/>
            <a:ext cx="5437188" cy="41036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DCF326-D6B4-5E4A-8E2C-D9FE40FD28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915" y="2097091"/>
            <a:ext cx="5437188" cy="4103687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A9FAEF4-2CDC-9742-AEF3-A25C5A448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F5D96D-48E3-0C44-90BC-172903528B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73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EB1B20-2713-DB46-A908-339A2ECBE6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9664" y="830004"/>
            <a:ext cx="6096000" cy="635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16F754-F487-1B41-808F-364ACB0AD6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DCF326-D6B4-5E4A-8E2C-D9FE40FD28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914" y="441325"/>
            <a:ext cx="11306173" cy="597535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5917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D2A97BB-34E9-7C49-B047-86820BA084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6391" y="441325"/>
            <a:ext cx="7632700" cy="4609306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>
              <a:defRPr sz="4800" b="0" i="0">
                <a:latin typeface="+mj-lt"/>
                <a:ea typeface="IAS Ribbon Sans Regular" pitchFamily="2" charset="0"/>
              </a:defRPr>
            </a:lvl1pPr>
          </a:lstStyle>
          <a:p>
            <a:r>
              <a:rPr lang="en-GB" dirty="0"/>
              <a:t>“Click to edit Master title style”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B8D95D-57D6-3B4E-A545-963A46D668F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7AFB9-1E01-0C42-8541-A572CC639D40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0BEB96-CCAD-0F4A-97FC-66037E3AB24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683131-2416-4447-B094-A11566C296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5364956"/>
            <a:ext cx="5977731" cy="835818"/>
          </a:xfrm>
        </p:spPr>
        <p:txBody>
          <a:bodyPr>
            <a:normAutofit/>
          </a:bodyPr>
          <a:lstStyle>
            <a:lvl1pPr>
              <a:defRPr sz="2800" b="0" i="0">
                <a:solidFill>
                  <a:schemeClr val="accent2"/>
                </a:solidFill>
                <a:latin typeface="+mn-lt"/>
                <a:ea typeface="IAS Ribbon Sans Regular" pitchFamily="2" charset="0"/>
              </a:defRPr>
            </a:lvl1pPr>
          </a:lstStyle>
          <a:p>
            <a:pPr lvl="0"/>
            <a:r>
              <a:rPr lang="en-GB" dirty="0"/>
              <a:t>Quote citation</a:t>
            </a:r>
          </a:p>
        </p:txBody>
      </p:sp>
    </p:spTree>
    <p:extLst>
      <p:ext uri="{BB962C8B-B14F-4D97-AF65-F5344CB8AC3E}">
        <p14:creationId xmlns:p14="http://schemas.microsoft.com/office/powerpoint/2010/main" val="29623459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DDEAE0B-CB6F-F14D-B880-D913AC7C91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0BE0682-4E41-DA47-89AB-390E546077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91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 userDrawn="1">
          <p15:clr>
            <a:srgbClr val="FBAE40"/>
          </p15:clr>
        </p15:guide>
        <p15:guide id="2" orient="horz" pos="172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patt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4CF0F5F-735F-1848-9F11-EEA595550F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886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 userDrawn="1">
          <p15:clr>
            <a:srgbClr val="FBAE40"/>
          </p15:clr>
        </p15:guide>
        <p15:guide id="2" orient="horz" pos="172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D2A97BB-34E9-7C49-B047-86820BA084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5759450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B8D95D-57D6-3B4E-A545-963A46D668F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7AFB9-1E01-0C42-8541-A572CC639D40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0BEB96-CCAD-0F4A-97FC-66037E3AB24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9101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3559227-C79C-8C45-BA3F-1033686FC8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21A2CA5-C9BE-8646-A49A-C5E2D56070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2917" y="2097091"/>
            <a:ext cx="11306175" cy="4103687"/>
          </a:xfrm>
        </p:spPr>
        <p:txBody>
          <a:bodyPr lIns="0" rIns="0"/>
          <a:lstStyle>
            <a:lvl1pPr marL="0" indent="0">
              <a:buFont typeface="Courier New" panose="02070309020205020404" pitchFamily="49" charset="0"/>
              <a:buNone/>
              <a:defRPr/>
            </a:lvl1pPr>
          </a:lstStyle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lorem </a:t>
            </a:r>
            <a:r>
              <a:rPr lang="en-US" dirty="0" err="1"/>
              <a:t>ut</a:t>
            </a:r>
            <a:r>
              <a:rPr lang="en-US" dirty="0"/>
              <a:t> libero </a:t>
            </a:r>
            <a:r>
              <a:rPr lang="en-US" dirty="0" err="1"/>
              <a:t>malesuada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non </a:t>
            </a:r>
            <a:r>
              <a:rPr lang="en-US" dirty="0" err="1"/>
              <a:t>nulla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tempus convallis </a:t>
            </a:r>
            <a:r>
              <a:rPr lang="en-US" dirty="0" err="1"/>
              <a:t>quis</a:t>
            </a:r>
            <a:r>
              <a:rPr lang="en-US" dirty="0"/>
              <a:t> ac </a:t>
            </a:r>
            <a:r>
              <a:rPr lang="en-US" dirty="0" err="1"/>
              <a:t>lectus</a:t>
            </a:r>
            <a:r>
              <a:rPr lang="en-US" dirty="0"/>
              <a:t>.</a:t>
            </a:r>
          </a:p>
          <a:p>
            <a:r>
              <a:rPr lang="en-US" dirty="0"/>
              <a:t>Proin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Donec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id dui </a:t>
            </a:r>
            <a:r>
              <a:rPr lang="en-US" dirty="0" err="1"/>
              <a:t>posuere</a:t>
            </a:r>
            <a:r>
              <a:rPr lang="en-US" dirty="0"/>
              <a:t> </a:t>
            </a:r>
            <a:r>
              <a:rPr lang="en-US" dirty="0" err="1"/>
              <a:t>blandit</a:t>
            </a:r>
            <a:r>
              <a:rPr lang="en-US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Proin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ED8009-8440-8D46-8AD7-A2541109AEA4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2431B0-0DEE-274A-8AA7-F4388EFA23F8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6624B48-6A91-EF4B-800A-445B8F13F8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0951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no patt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21A2CA5-C9BE-8646-A49A-C5E2D56070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2917" y="2097091"/>
            <a:ext cx="11306175" cy="4103687"/>
          </a:xfrm>
        </p:spPr>
        <p:txBody>
          <a:bodyPr lIns="0" rIns="0"/>
          <a:lstStyle>
            <a:lvl1pPr marL="0" indent="0">
              <a:buFont typeface="Courier New" panose="02070309020205020404" pitchFamily="49" charset="0"/>
              <a:buNone/>
              <a:defRPr/>
            </a:lvl1pPr>
          </a:lstStyle>
          <a:p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lorem </a:t>
            </a:r>
            <a:r>
              <a:rPr lang="en-US" dirty="0" err="1"/>
              <a:t>ut</a:t>
            </a:r>
            <a:r>
              <a:rPr lang="en-US" dirty="0"/>
              <a:t> libero </a:t>
            </a:r>
            <a:r>
              <a:rPr lang="en-US" dirty="0" err="1"/>
              <a:t>malesuada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non </a:t>
            </a:r>
            <a:r>
              <a:rPr lang="en-US" dirty="0" err="1"/>
              <a:t>nulla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tempus convallis </a:t>
            </a:r>
            <a:r>
              <a:rPr lang="en-US" dirty="0" err="1"/>
              <a:t>quis</a:t>
            </a:r>
            <a:r>
              <a:rPr lang="en-US" dirty="0"/>
              <a:t> ac </a:t>
            </a:r>
            <a:r>
              <a:rPr lang="en-US" dirty="0" err="1"/>
              <a:t>lectus</a:t>
            </a:r>
            <a:r>
              <a:rPr lang="en-US" dirty="0"/>
              <a:t>.</a:t>
            </a:r>
          </a:p>
          <a:p>
            <a:r>
              <a:rPr lang="en-US" dirty="0"/>
              <a:t>Proin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Donec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id dui </a:t>
            </a:r>
            <a:r>
              <a:rPr lang="en-US" dirty="0" err="1"/>
              <a:t>posuere</a:t>
            </a:r>
            <a:r>
              <a:rPr lang="en-US" dirty="0"/>
              <a:t> </a:t>
            </a:r>
            <a:r>
              <a:rPr lang="en-US" dirty="0" err="1"/>
              <a:t>blandit</a:t>
            </a:r>
            <a:r>
              <a:rPr lang="en-US" dirty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Proin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9497C5-5C94-8C43-959D-C5FE7F60E92D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DE0E92-4155-274E-B8D3-6224F5791510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B70982-BFE8-A345-992E-7EBA17B005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1770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90CA633-E76E-7B4D-B775-FF782415CA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9664" y="830004"/>
            <a:ext cx="6096000" cy="6350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EEA7C8-5B91-9446-9E3F-8AD099C6C7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2097088"/>
            <a:ext cx="7632700" cy="4103687"/>
          </a:xfrm>
        </p:spPr>
        <p:txBody>
          <a:bodyPr>
            <a:normAutofit/>
          </a:bodyPr>
          <a:lstStyle>
            <a:lvl1pPr marL="0" indent="0">
              <a:buNone/>
              <a:defRPr sz="2800" b="1" i="0">
                <a:solidFill>
                  <a:schemeClr val="accent1"/>
                </a:solidFill>
                <a:latin typeface="+mn-lt"/>
                <a:ea typeface="IAS Ribbon Sans Bold" pitchFamily="2" charset="0"/>
              </a:defRPr>
            </a:lvl1pPr>
          </a:lstStyle>
          <a:p>
            <a:pPr lvl="0"/>
            <a:r>
              <a:rPr lang="en-GB" dirty="0"/>
              <a:t>Click to add subtitl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B76CD7-5462-E949-A051-E9D818072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839244-55B1-A649-9A9A-7E659EE5CC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1441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AB14E1A-9F2E-1A48-988D-E71398454E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894CE0F-D4BC-9C48-9E55-800480CD1884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3215FEC-0B57-9C45-8CB3-F5D19B65B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1FAFFD-1963-C741-90CB-66192F2B4DFC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75BB66-3787-5A4B-8B7A-C2ACC59202FF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EBFCD2A-1ACA-2F4D-B612-6D7309D4B3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2098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F204DE9-AA04-C549-A2BF-A7EA2DE9D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08527" y="520526"/>
            <a:ext cx="6096000" cy="635000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093A-7AF9-304D-AE6D-F745B4F016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5" y="3256767"/>
            <a:ext cx="5437188" cy="2944008"/>
          </a:xfrm>
        </p:spPr>
        <p:txBody>
          <a:bodyPr anchor="t"/>
          <a:lstStyle>
            <a:lvl1pPr marL="0" indent="0">
              <a:buNone/>
              <a:defRPr/>
            </a:lvl1pPr>
          </a:lstStyle>
          <a:p>
            <a:pPr lvl="0"/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lorem </a:t>
            </a:r>
            <a:r>
              <a:rPr lang="en-US" dirty="0" err="1"/>
              <a:t>ut</a:t>
            </a:r>
            <a:r>
              <a:rPr lang="en-US" dirty="0"/>
              <a:t> libero </a:t>
            </a:r>
            <a:r>
              <a:rPr lang="en-US" dirty="0" err="1"/>
              <a:t>malesuada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 </a:t>
            </a:r>
            <a:r>
              <a:rPr lang="en-US" dirty="0" err="1"/>
              <a:t>Curabitur</a:t>
            </a:r>
            <a:r>
              <a:rPr lang="en-US" dirty="0"/>
              <a:t> non </a:t>
            </a:r>
            <a:r>
              <a:rPr lang="en-US" dirty="0" err="1"/>
              <a:t>nulla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tempus convallis </a:t>
            </a:r>
            <a:r>
              <a:rPr lang="en-US" dirty="0" err="1"/>
              <a:t>quis</a:t>
            </a:r>
            <a:r>
              <a:rPr lang="en-US" dirty="0"/>
              <a:t> ac </a:t>
            </a:r>
            <a:r>
              <a:rPr lang="en-US" dirty="0" err="1"/>
              <a:t>lectus</a:t>
            </a:r>
            <a:r>
              <a:rPr lang="en-US" dirty="0"/>
              <a:t>.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12FA691-34E1-B147-9F45-2CFB053A59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11903" y="441328"/>
            <a:ext cx="5437188" cy="5975351"/>
          </a:xfrm>
          <a:solidFill>
            <a:schemeClr val="accent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2C07795-8A1B-4F48-ADAF-7475467E7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65294"/>
            <a:ext cx="5437187" cy="1428641"/>
          </a:xfrm>
          <a:prstGeom prst="rect">
            <a:avLst/>
          </a:prstGeom>
        </p:spPr>
        <p:txBody>
          <a:bodyPr lIns="0" rIns="0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5BEA16-9E9F-0D4A-9C31-85DAC460949F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3A0912-00E9-3E4E-9381-0A5C958C62D2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DD43CCD-AAFC-B847-BF0F-B7E2A805F6E1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711AE3F-CB92-6441-A3CD-212584E5A6C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739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23E45C9-C02C-1844-9412-AADF0DC02B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093A-7AF9-304D-AE6D-F745B4F016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5" y="3256767"/>
            <a:ext cx="5437188" cy="2944008"/>
          </a:xfrm>
        </p:spPr>
        <p:txBody>
          <a:bodyPr anchor="t"/>
          <a:lstStyle>
            <a:lvl1pPr marL="0" indent="0">
              <a:buNone/>
              <a:defRPr/>
            </a:lvl1pPr>
          </a:lstStyle>
          <a:p>
            <a:pPr lvl="0"/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 lorem </a:t>
            </a:r>
            <a:r>
              <a:rPr lang="en-GB" dirty="0" err="1"/>
              <a:t>ut</a:t>
            </a:r>
            <a:r>
              <a:rPr lang="en-GB" dirty="0"/>
              <a:t> libero </a:t>
            </a:r>
            <a:r>
              <a:rPr lang="en-GB" dirty="0" err="1"/>
              <a:t>malesuada</a:t>
            </a:r>
            <a:r>
              <a:rPr lang="en-GB" dirty="0"/>
              <a:t> </a:t>
            </a:r>
            <a:r>
              <a:rPr lang="en-GB" dirty="0" err="1"/>
              <a:t>feugiat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non </a:t>
            </a:r>
            <a:r>
              <a:rPr lang="en-GB" dirty="0" err="1"/>
              <a:t>nulla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nisl</a:t>
            </a:r>
            <a:r>
              <a:rPr lang="en-GB" dirty="0"/>
              <a:t> tempus convallis </a:t>
            </a:r>
            <a:r>
              <a:rPr lang="en-GB" dirty="0" err="1"/>
              <a:t>quis</a:t>
            </a:r>
            <a:r>
              <a:rPr lang="en-GB" dirty="0"/>
              <a:t> ac </a:t>
            </a:r>
            <a:r>
              <a:rPr lang="en-GB" dirty="0" err="1"/>
              <a:t>lectus</a:t>
            </a:r>
            <a:r>
              <a:rPr lang="en-GB" dirty="0"/>
              <a:t>.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EE9A4EF-A011-1744-9932-D74E1968F6E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441325"/>
            <a:ext cx="5437188" cy="57594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0">
            <a:extLst>
              <a:ext uri="{FF2B5EF4-FFF2-40B4-BE49-F238E27FC236}">
                <a16:creationId xmlns:a16="http://schemas.microsoft.com/office/drawing/2014/main" id="{091C71F5-B0A7-8745-8F8B-E636D57FA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65294"/>
            <a:ext cx="5437187" cy="1428641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465E4D-8ADE-2143-908C-7C2920965ACF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76478F-F1E2-AD47-BAC6-395C98E2FF59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AD4010-0096-6B46-B74C-E77670FCDEA8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A68540-1E39-9940-9836-DCF829D4D0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6808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A22E31C-EEE8-E443-ACC1-EEE5AD7AEE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097089"/>
            <a:ext cx="5437187" cy="4103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B53F7F2-792C-5946-B26B-153D893CB5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2097091"/>
            <a:ext cx="5437188" cy="41036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180687-9ED9-514C-9D5C-4D3E75055068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A67C6D-451D-6C40-B015-49D120732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7245EE-BB3A-034C-BE06-055376C80D0C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2022.or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8551B1C-217B-4F4B-81FF-529B758036DF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#AIDS2022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2C49D09-C2A6-DA4E-BB2C-C8BAD7812B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558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89E840-5704-12DD-8AE1-7E21B8B50C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898249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7" y="2097087"/>
            <a:ext cx="11306175" cy="4103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Vivamus</a:t>
            </a:r>
            <a:r>
              <a:rPr lang="en-GB" dirty="0"/>
              <a:t> </a:t>
            </a:r>
            <a:r>
              <a:rPr lang="en-GB" dirty="0" err="1"/>
              <a:t>suscipit</a:t>
            </a:r>
            <a:r>
              <a:rPr lang="en-GB" dirty="0"/>
              <a:t> </a:t>
            </a:r>
            <a:r>
              <a:rPr lang="en-GB" dirty="0" err="1"/>
              <a:t>tortor</a:t>
            </a:r>
            <a:r>
              <a:rPr lang="en-GB" dirty="0"/>
              <a:t> </a:t>
            </a:r>
            <a:r>
              <a:rPr lang="en-GB" dirty="0" err="1"/>
              <a:t>eget</a:t>
            </a:r>
            <a:r>
              <a:rPr lang="en-GB" dirty="0"/>
              <a:t> </a:t>
            </a:r>
            <a:r>
              <a:rPr lang="en-GB" dirty="0" err="1"/>
              <a:t>felis</a:t>
            </a:r>
            <a:r>
              <a:rPr lang="en-GB" dirty="0"/>
              <a:t> </a:t>
            </a:r>
            <a:r>
              <a:rPr lang="en-GB" dirty="0" err="1"/>
              <a:t>porttitor</a:t>
            </a:r>
            <a:r>
              <a:rPr lang="en-GB" dirty="0"/>
              <a:t> </a:t>
            </a:r>
            <a:r>
              <a:rPr lang="en-GB" dirty="0" err="1"/>
              <a:t>volutpat</a:t>
            </a:r>
            <a:r>
              <a:rPr lang="en-GB" dirty="0"/>
              <a:t>. </a:t>
            </a:r>
            <a:r>
              <a:rPr lang="en-GB" dirty="0" err="1"/>
              <a:t>Curabitur</a:t>
            </a:r>
            <a:r>
              <a:rPr lang="en-GB" dirty="0"/>
              <a:t> </a:t>
            </a:r>
            <a:r>
              <a:rPr lang="en-GB" dirty="0" err="1"/>
              <a:t>arcu</a:t>
            </a:r>
            <a:r>
              <a:rPr lang="en-GB" dirty="0"/>
              <a:t> </a:t>
            </a:r>
            <a:r>
              <a:rPr lang="en-GB" dirty="0" err="1"/>
              <a:t>erat</a:t>
            </a:r>
            <a:r>
              <a:rPr lang="en-GB" dirty="0"/>
              <a:t>, </a:t>
            </a:r>
            <a:r>
              <a:rPr lang="en-GB" dirty="0" err="1"/>
              <a:t>accumsan</a:t>
            </a:r>
            <a:r>
              <a:rPr lang="en-GB" dirty="0"/>
              <a:t> id </a:t>
            </a:r>
            <a:r>
              <a:rPr lang="en-GB" dirty="0" err="1"/>
              <a:t>imperdiet</a:t>
            </a:r>
            <a:r>
              <a:rPr lang="en-GB" dirty="0"/>
              <a:t> et, </a:t>
            </a:r>
            <a:r>
              <a:rPr lang="en-GB" dirty="0" err="1"/>
              <a:t>porttitor</a:t>
            </a:r>
            <a:r>
              <a:rPr lang="en-GB" dirty="0"/>
              <a:t> at sem.</a:t>
            </a:r>
          </a:p>
          <a:p>
            <a:pPr lvl="0"/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quis</a:t>
            </a:r>
            <a:r>
              <a:rPr lang="en-GB" dirty="0"/>
              <a:t> lorem </a:t>
            </a:r>
            <a:r>
              <a:rPr lang="en-GB" dirty="0" err="1"/>
              <a:t>ut</a:t>
            </a:r>
            <a:r>
              <a:rPr lang="en-GB" dirty="0"/>
              <a:t> libero </a:t>
            </a:r>
            <a:r>
              <a:rPr lang="en-GB" dirty="0" err="1"/>
              <a:t>malesuada</a:t>
            </a:r>
            <a:r>
              <a:rPr lang="en-GB" dirty="0"/>
              <a:t> </a:t>
            </a:r>
            <a:r>
              <a:rPr lang="en-GB" dirty="0" err="1"/>
              <a:t>feugiat</a:t>
            </a:r>
            <a:r>
              <a:rPr lang="en-GB" dirty="0"/>
              <a:t>. Vestibulum ac </a:t>
            </a:r>
            <a:r>
              <a:rPr lang="en-GB" dirty="0" err="1"/>
              <a:t>diam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quam</a:t>
            </a:r>
            <a:r>
              <a:rPr lang="en-GB" dirty="0"/>
              <a:t> </a:t>
            </a:r>
            <a:r>
              <a:rPr lang="en-GB" dirty="0" err="1"/>
              <a:t>vehicula</a:t>
            </a:r>
            <a:r>
              <a:rPr lang="en-GB" dirty="0"/>
              <a:t> </a:t>
            </a:r>
            <a:r>
              <a:rPr lang="en-GB" dirty="0" err="1"/>
              <a:t>elementum</a:t>
            </a:r>
            <a:r>
              <a:rPr lang="en-GB" dirty="0"/>
              <a:t> </a:t>
            </a:r>
            <a:r>
              <a:rPr lang="en-GB" dirty="0" err="1"/>
              <a:t>sed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dui.Click</a:t>
            </a:r>
            <a:r>
              <a:rPr lang="en-GB" dirty="0"/>
              <a:t> to edit Master text styles</a:t>
            </a:r>
          </a:p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C1DE39C-A624-6245-8B93-DA3654240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800" y="441324"/>
            <a:ext cx="7632000" cy="12218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1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3" r:id="rId2"/>
    <p:sldLayoutId id="2147483663" r:id="rId3"/>
    <p:sldLayoutId id="2147483677" r:id="rId4"/>
    <p:sldLayoutId id="2147483671" r:id="rId5"/>
    <p:sldLayoutId id="2147483672" r:id="rId6"/>
    <p:sldLayoutId id="2147483664" r:id="rId7"/>
    <p:sldLayoutId id="2147483667" r:id="rId8"/>
    <p:sldLayoutId id="2147483665" r:id="rId9"/>
    <p:sldLayoutId id="2147483668" r:id="rId10"/>
    <p:sldLayoutId id="2147483674" r:id="rId11"/>
    <p:sldLayoutId id="2147483675" r:id="rId12"/>
    <p:sldLayoutId id="2147483678" r:id="rId13"/>
    <p:sldLayoutId id="2147483679" r:id="rId14"/>
    <p:sldLayoutId id="2147483670" r:id="rId15"/>
    <p:sldLayoutId id="214748367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accent2"/>
          </a:solidFill>
          <a:latin typeface="+mj-lt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SzPct val="100000"/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49263" indent="-234950" algn="l" defTabSz="914400" rtl="0" eaLnBrk="1" latinLnBrk="0" hangingPunct="1">
        <a:lnSpc>
          <a:spcPct val="100000"/>
        </a:lnSpc>
        <a:spcBef>
          <a:spcPts val="500"/>
        </a:spcBef>
        <a:buSzPct val="10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2788" indent="-254000" algn="l" defTabSz="914400" rtl="0" eaLnBrk="1" latinLnBrk="0" hangingPunct="1">
        <a:lnSpc>
          <a:spcPct val="100000"/>
        </a:lnSpc>
        <a:spcBef>
          <a:spcPts val="500"/>
        </a:spcBef>
        <a:buSzPct val="10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625" indent="-214313" algn="l" defTabSz="914400" rtl="0" eaLnBrk="1" latinLnBrk="0" hangingPunct="1">
        <a:lnSpc>
          <a:spcPct val="100000"/>
        </a:lnSpc>
        <a:spcBef>
          <a:spcPts val="500"/>
        </a:spcBef>
        <a:buSzPct val="10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00150" indent="-223838" algn="l" defTabSz="914400" rtl="0" eaLnBrk="1" latinLnBrk="0" hangingPunct="1">
        <a:lnSpc>
          <a:spcPct val="100000"/>
        </a:lnSpc>
        <a:spcBef>
          <a:spcPts val="500"/>
        </a:spcBef>
        <a:buSzPct val="10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 userDrawn="1">
          <p15:clr>
            <a:srgbClr val="F26B43"/>
          </p15:clr>
        </p15:guide>
        <p15:guide id="2" pos="2593" userDrawn="1">
          <p15:clr>
            <a:srgbClr val="F26B43"/>
          </p15:clr>
        </p15:guide>
        <p15:guide id="3" pos="2865" userDrawn="1">
          <p15:clr>
            <a:srgbClr val="F26B43"/>
          </p15:clr>
        </p15:guide>
        <p15:guide id="4" pos="3704" userDrawn="1">
          <p15:clr>
            <a:srgbClr val="F26B43"/>
          </p15:clr>
        </p15:guide>
        <p15:guide id="5" pos="3976" userDrawn="1">
          <p15:clr>
            <a:srgbClr val="F26B43"/>
          </p15:clr>
        </p15:guide>
        <p15:guide id="6" pos="4815" userDrawn="1">
          <p15:clr>
            <a:srgbClr val="F26B43"/>
          </p15:clr>
        </p15:guide>
        <p15:guide id="7" pos="5087" userDrawn="1">
          <p15:clr>
            <a:srgbClr val="F26B43"/>
          </p15:clr>
        </p15:guide>
        <p15:guide id="8" pos="7401" userDrawn="1">
          <p15:clr>
            <a:srgbClr val="F26B43"/>
          </p15:clr>
        </p15:guide>
        <p15:guide id="9" orient="horz" pos="278" userDrawn="1">
          <p15:clr>
            <a:srgbClr val="F26B43"/>
          </p15:clr>
        </p15:guide>
        <p15:guide id="10" orient="horz" pos="1049" userDrawn="1">
          <p15:clr>
            <a:srgbClr val="F26B43"/>
          </p15:clr>
        </p15:guide>
        <p15:guide id="11" orient="horz" pos="1321" userDrawn="1">
          <p15:clr>
            <a:srgbClr val="F26B43"/>
          </p15:clr>
        </p15:guide>
        <p15:guide id="12" orient="horz" pos="3906" userDrawn="1">
          <p15:clr>
            <a:srgbClr val="F26B43"/>
          </p15:clr>
        </p15:guide>
        <p15:guide id="13" orient="horz" pos="4178" userDrawn="1">
          <p15:clr>
            <a:srgbClr val="F26B43"/>
          </p15:clr>
        </p15:guide>
        <p15:guide id="14" orient="horz" pos="40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BBC79-ADC6-0046-8A5F-BE970FB5E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8082" y="2486708"/>
            <a:ext cx="7877489" cy="713707"/>
          </a:xfrm>
        </p:spPr>
        <p:txBody>
          <a:bodyPr>
            <a:normAutofit/>
          </a:bodyPr>
          <a:lstStyle/>
          <a:p>
            <a:pPr algn="ctr"/>
            <a:r>
              <a:rPr lang="en-GB" sz="3600" u="sng" dirty="0">
                <a:latin typeface="Arial" panose="020B0604020202020204" pitchFamily="34" charset="0"/>
                <a:cs typeface="Arial" panose="020B0604020202020204" pitchFamily="34" charset="0"/>
              </a:rPr>
              <a:t>Conflict of interest disclosu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EE4EBB-4C3A-47F7-AEC3-0DD92691DDC9}"/>
              </a:ext>
            </a:extLst>
          </p:cNvPr>
          <p:cNvSpPr/>
          <p:nvPr/>
        </p:nvSpPr>
        <p:spPr>
          <a:xfrm>
            <a:off x="596766" y="3131585"/>
            <a:ext cx="10635916" cy="14726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88422E-D886-A5FE-B5F3-33B34C28C435}"/>
              </a:ext>
            </a:extLst>
          </p:cNvPr>
          <p:cNvSpPr txBox="1">
            <a:spLocks/>
          </p:cNvSpPr>
          <p:nvPr/>
        </p:nvSpPr>
        <p:spPr>
          <a:xfrm>
            <a:off x="1318662" y="3466203"/>
            <a:ext cx="9131648" cy="7137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100000"/>
              <a:buFont typeface="Courier New" panose="02070309020205020404" pitchFamily="49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349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2788" indent="-25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625" indent="-2143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150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have no relevant financial relationships with ineligible companies to disclose.</a:t>
            </a:r>
            <a:endParaRPr lang="en-GB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233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B43FCC-9810-5A40-BD99-79D9BA351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5170" y="3769689"/>
            <a:ext cx="9500135" cy="1308322"/>
          </a:xfrm>
        </p:spPr>
        <p:txBody>
          <a:bodyPr>
            <a:noAutofit/>
          </a:bodyPr>
          <a:lstStyle/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atalytic Role of Dual HIV/Syphilis Rapid Diagnostic Tests In Accelerating National Elimination of Mother-To-Child-Transmission in Nigeria 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3E17C1-788B-8242-9BB1-6B5637005F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50539" y="1745422"/>
            <a:ext cx="9114766" cy="796533"/>
          </a:xfrm>
        </p:spPr>
        <p:txBody>
          <a:bodyPr>
            <a:noAutofit/>
          </a:bodyPr>
          <a:lstStyle/>
          <a:p>
            <a:pPr algn="ctr"/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Andrew Storey</a:t>
            </a:r>
          </a:p>
          <a:p>
            <a:pPr algn="ctr"/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Senior Director, Maternal Neonatal Health Program CHAI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74A6D2A-AB84-D814-F884-34E7E6C8808F}"/>
              </a:ext>
            </a:extLst>
          </p:cNvPr>
          <p:cNvSpPr txBox="1">
            <a:spLocks/>
          </p:cNvSpPr>
          <p:nvPr/>
        </p:nvSpPr>
        <p:spPr>
          <a:xfrm>
            <a:off x="2847382" y="2917966"/>
            <a:ext cx="5456645" cy="3406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 sz="2800" b="1" i="0" kern="1200">
                <a:solidFill>
                  <a:schemeClr val="accent1"/>
                </a:solidFill>
                <a:latin typeface="+mj-lt"/>
                <a:ea typeface="IAS Ribbon Sans Bold" pitchFamily="2" charset="0"/>
                <a:cs typeface="+mn-cs"/>
              </a:defRPr>
            </a:lvl1pPr>
            <a:lvl2pPr marL="449263" indent="-2349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2788" indent="-25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625" indent="-2143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0150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(Oral Abstract Presentation)</a:t>
            </a:r>
          </a:p>
        </p:txBody>
      </p:sp>
    </p:spTree>
    <p:extLst>
      <p:ext uri="{BB962C8B-B14F-4D97-AF65-F5344CB8AC3E}">
        <p14:creationId xmlns:p14="http://schemas.microsoft.com/office/powerpoint/2010/main" val="18608587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CD0841-3E68-C3D8-A010-0E4E0E3C0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342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2C77D822-40F4-92E0-A764-8E3DF5776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8636" y="68047"/>
            <a:ext cx="10035941" cy="738489"/>
          </a:xfrm>
        </p:spPr>
        <p:txBody>
          <a:bodyPr vert="horz">
            <a:normAutofit/>
          </a:bodyPr>
          <a:lstStyle/>
          <a:p>
            <a:r>
              <a:rPr lang="en-US" sz="2200" noProof="0" dirty="0">
                <a:latin typeface="Arial" panose="020B0604020202020204" pitchFamily="34" charset="0"/>
                <a:cs typeface="Arial" panose="020B0604020202020204" pitchFamily="34" charset="0"/>
              </a:rPr>
              <a:t>Globally, an estimated one million cases of syphilis in pregnant women cause 350K adverse birth outcomes</a:t>
            </a:r>
            <a:endParaRPr lang="en-US" sz="2200" b="1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7BD6D-B9CE-7975-B14A-0D55BBA0BBCD}"/>
              </a:ext>
            </a:extLst>
          </p:cNvPr>
          <p:cNvCxnSpPr>
            <a:cxnSpLocks/>
          </p:cNvCxnSpPr>
          <p:nvPr/>
        </p:nvCxnSpPr>
        <p:spPr>
          <a:xfrm>
            <a:off x="1918636" y="816162"/>
            <a:ext cx="10190839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2D8A35F-2AC6-9C6C-D125-20BBD346B5F5}"/>
              </a:ext>
            </a:extLst>
          </p:cNvPr>
          <p:cNvSpPr txBox="1"/>
          <p:nvPr/>
        </p:nvSpPr>
        <p:spPr>
          <a:xfrm>
            <a:off x="243749" y="1271771"/>
            <a:ext cx="41693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3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Number Adverse Birth Outcomes</a:t>
            </a:r>
            <a:endParaRPr lang="en-US" sz="13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045EE8-2B53-9F24-ADB6-AD5BD7AE88CB}"/>
              </a:ext>
            </a:extLst>
          </p:cNvPr>
          <p:cNvSpPr txBox="1"/>
          <p:nvPr/>
        </p:nvSpPr>
        <p:spPr>
          <a:xfrm>
            <a:off x="2328409" y="1561823"/>
            <a:ext cx="1672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100" b="1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= 351,000 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A48BE157-45EA-50E6-1902-82DC40A817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6111089"/>
              </p:ext>
            </p:extLst>
          </p:nvPr>
        </p:nvGraphicFramePr>
        <p:xfrm>
          <a:off x="243749" y="1802838"/>
          <a:ext cx="4169320" cy="3734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C1D99302-FAAD-4B11-D332-0B1B8C58E3FF}"/>
              </a:ext>
            </a:extLst>
          </p:cNvPr>
          <p:cNvSpPr txBox="1"/>
          <p:nvPr/>
        </p:nvSpPr>
        <p:spPr>
          <a:xfrm>
            <a:off x="381500" y="5555599"/>
            <a:ext cx="4647700" cy="7386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Syphilis is the second leading infectious cause of stillbirths globally</a:t>
            </a:r>
          </a:p>
          <a:p>
            <a:r>
              <a:rPr lang="en-GB" dirty="0"/>
              <a:t>64% of adverse syphilis outcomes occur in Africa</a:t>
            </a:r>
            <a:endParaRPr lang="en-US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A33E35D7-A2E3-270E-BD85-917B78FFED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5401942"/>
              </p:ext>
            </p:extLst>
          </p:nvPr>
        </p:nvGraphicFramePr>
        <p:xfrm>
          <a:off x="5383530" y="1269650"/>
          <a:ext cx="6618740" cy="3999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6111C39E-0908-E5C8-BB85-587303367DA9}"/>
              </a:ext>
            </a:extLst>
          </p:cNvPr>
          <p:cNvSpPr/>
          <p:nvPr/>
        </p:nvSpPr>
        <p:spPr>
          <a:xfrm>
            <a:off x="5383530" y="5537786"/>
            <a:ext cx="6618740" cy="7439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noProof="0" dirty="0">
                <a:latin typeface="Arial" panose="020B0604020202020204" pitchFamily="34" charset="0"/>
                <a:cs typeface="Arial" panose="020B0604020202020204" pitchFamily="34" charset="0"/>
              </a:rPr>
              <a:t>As of 2019, 51% disparity between national coverage for HIV and Syphilis testing among the pregnant women population in Nigeria</a:t>
            </a:r>
            <a:endParaRPr lang="en-US" sz="1400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44799C0-3FBB-74E4-9BE5-22AEBA5A05D6}"/>
              </a:ext>
            </a:extLst>
          </p:cNvPr>
          <p:cNvSpPr/>
          <p:nvPr/>
        </p:nvSpPr>
        <p:spPr>
          <a:xfrm>
            <a:off x="11235690" y="2792245"/>
            <a:ext cx="718887" cy="2560320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5346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C45D249-6D4D-5159-F566-61954E6BDC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63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F3D07A-5A62-603C-15EA-C5E44033F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569" y="118159"/>
            <a:ext cx="10684640" cy="738489"/>
          </a:xfrm>
        </p:spPr>
        <p:txBody>
          <a:bodyPr vert="horz">
            <a:normAutofit/>
          </a:bodyPr>
          <a:lstStyle/>
          <a:p>
            <a:r>
              <a:rPr lang="en-US" sz="2200" b="1" noProof="0" dirty="0">
                <a:latin typeface="Arial" panose="020B0604020202020204" pitchFamily="34" charset="0"/>
                <a:cs typeface="Arial" panose="020B0604020202020204" pitchFamily="34" charset="0"/>
              </a:rPr>
              <a:t>A national syphilis seroprevalence survey revealed average national prevalence of syphilis in ANC of 0.7% with geographic dispariti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74E3ED8-54D3-DF16-B0FF-E69B0891E35A}"/>
              </a:ext>
            </a:extLst>
          </p:cNvPr>
          <p:cNvCxnSpPr>
            <a:cxnSpLocks/>
          </p:cNvCxnSpPr>
          <p:nvPr/>
        </p:nvCxnSpPr>
        <p:spPr>
          <a:xfrm>
            <a:off x="1541380" y="827324"/>
            <a:ext cx="10564011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B16FB1D-0E86-5E69-71F4-24372FC492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3014830"/>
              </p:ext>
            </p:extLst>
          </p:nvPr>
        </p:nvGraphicFramePr>
        <p:xfrm>
          <a:off x="240632" y="1857676"/>
          <a:ext cx="6616431" cy="423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93101FC-300E-D1C7-A8A2-1E2FB6878DAA}"/>
              </a:ext>
            </a:extLst>
          </p:cNvPr>
          <p:cNvCxnSpPr/>
          <p:nvPr/>
        </p:nvCxnSpPr>
        <p:spPr>
          <a:xfrm>
            <a:off x="0" y="6448926"/>
            <a:ext cx="1217275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7997B86F-89BE-CB0D-0E9D-27E1EC287334}"/>
              </a:ext>
            </a:extLst>
          </p:cNvPr>
          <p:cNvSpPr/>
          <p:nvPr/>
        </p:nvSpPr>
        <p:spPr>
          <a:xfrm>
            <a:off x="9454121" y="4927292"/>
            <a:ext cx="2446807" cy="975327"/>
          </a:xfrm>
          <a:prstGeom prst="roundRect">
            <a:avLst/>
          </a:prstGeom>
          <a:noFill/>
          <a:ln w="12700" cap="flat" cmpd="sng" algn="ctr">
            <a:solidFill>
              <a:srgbClr val="BFBFBF">
                <a:lumMod val="50000"/>
              </a:srgbClr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0A27E4E4-6FA2-CEF8-FA2C-E082423F56C9}"/>
              </a:ext>
            </a:extLst>
          </p:cNvPr>
          <p:cNvSpPr/>
          <p:nvPr/>
        </p:nvSpPr>
        <p:spPr>
          <a:xfrm>
            <a:off x="7093008" y="4873586"/>
            <a:ext cx="2116932" cy="1003907"/>
          </a:xfrm>
          <a:prstGeom prst="roundRect">
            <a:avLst/>
          </a:prstGeom>
          <a:noFill/>
          <a:ln w="12700" cap="flat" cmpd="sng" algn="ctr">
            <a:solidFill>
              <a:srgbClr val="BFBFBF">
                <a:lumMod val="50000"/>
              </a:srgbClr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CD639B7C-4919-030F-EB67-F59457080716}"/>
              </a:ext>
            </a:extLst>
          </p:cNvPr>
          <p:cNvSpPr/>
          <p:nvPr/>
        </p:nvSpPr>
        <p:spPr>
          <a:xfrm>
            <a:off x="9949918" y="3331152"/>
            <a:ext cx="2155473" cy="1055455"/>
          </a:xfrm>
          <a:prstGeom prst="roundRect">
            <a:avLst/>
          </a:prstGeom>
          <a:noFill/>
          <a:ln w="12700" cap="flat" cmpd="sng" algn="ctr">
            <a:solidFill>
              <a:srgbClr val="262626">
                <a:lumMod val="90000"/>
                <a:lumOff val="10000"/>
              </a:srgbClr>
            </a:solidFill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4" name="组合 16">
            <a:extLst>
              <a:ext uri="{FF2B5EF4-FFF2-40B4-BE49-F238E27FC236}">
                <a16:creationId xmlns:a16="http://schemas.microsoft.com/office/drawing/2014/main" id="{CA53BD7C-DEB6-E7BA-A8BF-6322DA2FB630}"/>
              </a:ext>
            </a:extLst>
          </p:cNvPr>
          <p:cNvGrpSpPr/>
          <p:nvPr/>
        </p:nvGrpSpPr>
        <p:grpSpPr>
          <a:xfrm>
            <a:off x="7130704" y="1935490"/>
            <a:ext cx="4279961" cy="3072492"/>
            <a:chOff x="2508258" y="1690688"/>
            <a:chExt cx="6323630" cy="4806207"/>
          </a:xfrm>
          <a:solidFill>
            <a:srgbClr val="3F3F3F">
              <a:lumMod val="60000"/>
              <a:lumOff val="40000"/>
            </a:srgbClr>
          </a:solidFill>
        </p:grpSpPr>
        <p:sp>
          <p:nvSpPr>
            <p:cNvPr id="65" name="Freeform 59">
              <a:extLst>
                <a:ext uri="{FF2B5EF4-FFF2-40B4-BE49-F238E27FC236}">
                  <a16:creationId xmlns:a16="http://schemas.microsoft.com/office/drawing/2014/main" id="{EC0358C1-E2F7-43F4-9A41-D5FACF19C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986" y="1690688"/>
              <a:ext cx="914400" cy="808037"/>
            </a:xfrm>
            <a:custGeom>
              <a:avLst/>
              <a:gdLst>
                <a:gd name="T0" fmla="*/ 2762 w 3804"/>
                <a:gd name="T1" fmla="*/ 1710 h 2931"/>
                <a:gd name="T2" fmla="*/ 3137 w 3804"/>
                <a:gd name="T3" fmla="*/ 1505 h 2931"/>
                <a:gd name="T4" fmla="*/ 3118 w 3804"/>
                <a:gd name="T5" fmla="*/ 1216 h 2931"/>
                <a:gd name="T6" fmla="*/ 3191 w 3804"/>
                <a:gd name="T7" fmla="*/ 951 h 2931"/>
                <a:gd name="T8" fmla="*/ 3479 w 3804"/>
                <a:gd name="T9" fmla="*/ 992 h 2931"/>
                <a:gd name="T10" fmla="*/ 3767 w 3804"/>
                <a:gd name="T11" fmla="*/ 960 h 2931"/>
                <a:gd name="T12" fmla="*/ 3804 w 3804"/>
                <a:gd name="T13" fmla="*/ 677 h 2931"/>
                <a:gd name="T14" fmla="*/ 3479 w 3804"/>
                <a:gd name="T15" fmla="*/ 478 h 2931"/>
                <a:gd name="T16" fmla="*/ 3137 w 3804"/>
                <a:gd name="T17" fmla="*/ 364 h 2931"/>
                <a:gd name="T18" fmla="*/ 2794 w 3804"/>
                <a:gd name="T19" fmla="*/ 250 h 2931"/>
                <a:gd name="T20" fmla="*/ 2509 w 3804"/>
                <a:gd name="T21" fmla="*/ 136 h 2931"/>
                <a:gd name="T22" fmla="*/ 2250 w 3804"/>
                <a:gd name="T23" fmla="*/ 0 h 2931"/>
                <a:gd name="T24" fmla="*/ 1939 w 3804"/>
                <a:gd name="T25" fmla="*/ 22 h 2931"/>
                <a:gd name="T26" fmla="*/ 1646 w 3804"/>
                <a:gd name="T27" fmla="*/ 73 h 2931"/>
                <a:gd name="T28" fmla="*/ 1369 w 3804"/>
                <a:gd name="T29" fmla="*/ 136 h 2931"/>
                <a:gd name="T30" fmla="*/ 1141 w 3804"/>
                <a:gd name="T31" fmla="*/ 136 h 2931"/>
                <a:gd name="T32" fmla="*/ 855 w 3804"/>
                <a:gd name="T33" fmla="*/ 193 h 2931"/>
                <a:gd name="T34" fmla="*/ 513 w 3804"/>
                <a:gd name="T35" fmla="*/ 364 h 2931"/>
                <a:gd name="T36" fmla="*/ 202 w 3804"/>
                <a:gd name="T37" fmla="*/ 521 h 2931"/>
                <a:gd name="T38" fmla="*/ 57 w 3804"/>
                <a:gd name="T39" fmla="*/ 649 h 2931"/>
                <a:gd name="T40" fmla="*/ 0 w 3804"/>
                <a:gd name="T41" fmla="*/ 764 h 2931"/>
                <a:gd name="T42" fmla="*/ 0 w 3804"/>
                <a:gd name="T43" fmla="*/ 878 h 2931"/>
                <a:gd name="T44" fmla="*/ 285 w 3804"/>
                <a:gd name="T45" fmla="*/ 878 h 2931"/>
                <a:gd name="T46" fmla="*/ 456 w 3804"/>
                <a:gd name="T47" fmla="*/ 992 h 2931"/>
                <a:gd name="T48" fmla="*/ 586 w 3804"/>
                <a:gd name="T49" fmla="*/ 1198 h 2931"/>
                <a:gd name="T50" fmla="*/ 805 w 3804"/>
                <a:gd name="T51" fmla="*/ 1216 h 2931"/>
                <a:gd name="T52" fmla="*/ 896 w 3804"/>
                <a:gd name="T53" fmla="*/ 1353 h 2931"/>
                <a:gd name="T54" fmla="*/ 970 w 3804"/>
                <a:gd name="T55" fmla="*/ 1505 h 2931"/>
                <a:gd name="T56" fmla="*/ 1027 w 3804"/>
                <a:gd name="T57" fmla="*/ 1676 h 2931"/>
                <a:gd name="T58" fmla="*/ 1027 w 3804"/>
                <a:gd name="T59" fmla="*/ 1790 h 2931"/>
                <a:gd name="T60" fmla="*/ 912 w 3804"/>
                <a:gd name="T61" fmla="*/ 1961 h 2931"/>
                <a:gd name="T62" fmla="*/ 855 w 3804"/>
                <a:gd name="T63" fmla="*/ 2132 h 2931"/>
                <a:gd name="T64" fmla="*/ 798 w 3804"/>
                <a:gd name="T65" fmla="*/ 2304 h 2931"/>
                <a:gd name="T66" fmla="*/ 627 w 3804"/>
                <a:gd name="T67" fmla="*/ 2475 h 2931"/>
                <a:gd name="T68" fmla="*/ 627 w 3804"/>
                <a:gd name="T69" fmla="*/ 2703 h 2931"/>
                <a:gd name="T70" fmla="*/ 627 w 3804"/>
                <a:gd name="T71" fmla="*/ 2931 h 2931"/>
                <a:gd name="T72" fmla="*/ 798 w 3804"/>
                <a:gd name="T73" fmla="*/ 2874 h 2931"/>
                <a:gd name="T74" fmla="*/ 970 w 3804"/>
                <a:gd name="T75" fmla="*/ 2760 h 2931"/>
                <a:gd name="T76" fmla="*/ 1152 w 3804"/>
                <a:gd name="T77" fmla="*/ 2707 h 2931"/>
                <a:gd name="T78" fmla="*/ 1326 w 3804"/>
                <a:gd name="T79" fmla="*/ 2643 h 2931"/>
                <a:gd name="T80" fmla="*/ 1540 w 3804"/>
                <a:gd name="T81" fmla="*/ 2589 h 2931"/>
                <a:gd name="T82" fmla="*/ 1774 w 3804"/>
                <a:gd name="T83" fmla="*/ 2515 h 2931"/>
                <a:gd name="T84" fmla="*/ 2039 w 3804"/>
                <a:gd name="T85" fmla="*/ 2478 h 2931"/>
                <a:gd name="T86" fmla="*/ 2176 w 3804"/>
                <a:gd name="T87" fmla="*/ 2286 h 2931"/>
                <a:gd name="T88" fmla="*/ 2186 w 3804"/>
                <a:gd name="T89" fmla="*/ 2076 h 2931"/>
                <a:gd name="T90" fmla="*/ 2359 w 3804"/>
                <a:gd name="T91" fmla="*/ 1929 h 2931"/>
                <a:gd name="T92" fmla="*/ 2597 w 3804"/>
                <a:gd name="T93" fmla="*/ 1829 h 2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804" h="2931">
                  <a:moveTo>
                    <a:pt x="2597" y="1829"/>
                  </a:moveTo>
                  <a:lnTo>
                    <a:pt x="2762" y="1710"/>
                  </a:lnTo>
                  <a:lnTo>
                    <a:pt x="2963" y="1628"/>
                  </a:lnTo>
                  <a:lnTo>
                    <a:pt x="3137" y="1505"/>
                  </a:lnTo>
                  <a:lnTo>
                    <a:pt x="3191" y="1363"/>
                  </a:lnTo>
                  <a:lnTo>
                    <a:pt x="3118" y="1216"/>
                  </a:lnTo>
                  <a:lnTo>
                    <a:pt x="3109" y="1052"/>
                  </a:lnTo>
                  <a:lnTo>
                    <a:pt x="3191" y="951"/>
                  </a:lnTo>
                  <a:lnTo>
                    <a:pt x="3308" y="992"/>
                  </a:lnTo>
                  <a:lnTo>
                    <a:pt x="3479" y="992"/>
                  </a:lnTo>
                  <a:lnTo>
                    <a:pt x="3676" y="1052"/>
                  </a:lnTo>
                  <a:lnTo>
                    <a:pt x="3767" y="960"/>
                  </a:lnTo>
                  <a:lnTo>
                    <a:pt x="3804" y="841"/>
                  </a:lnTo>
                  <a:lnTo>
                    <a:pt x="3804" y="677"/>
                  </a:lnTo>
                  <a:lnTo>
                    <a:pt x="3667" y="549"/>
                  </a:lnTo>
                  <a:lnTo>
                    <a:pt x="3479" y="478"/>
                  </a:lnTo>
                  <a:lnTo>
                    <a:pt x="3308" y="421"/>
                  </a:lnTo>
                  <a:lnTo>
                    <a:pt x="3137" y="364"/>
                  </a:lnTo>
                  <a:lnTo>
                    <a:pt x="2966" y="307"/>
                  </a:lnTo>
                  <a:lnTo>
                    <a:pt x="2794" y="250"/>
                  </a:lnTo>
                  <a:lnTo>
                    <a:pt x="2623" y="193"/>
                  </a:lnTo>
                  <a:lnTo>
                    <a:pt x="2509" y="136"/>
                  </a:lnTo>
                  <a:lnTo>
                    <a:pt x="2395" y="22"/>
                  </a:lnTo>
                  <a:lnTo>
                    <a:pt x="2250" y="0"/>
                  </a:lnTo>
                  <a:lnTo>
                    <a:pt x="2103" y="19"/>
                  </a:lnTo>
                  <a:lnTo>
                    <a:pt x="1939" y="22"/>
                  </a:lnTo>
                  <a:lnTo>
                    <a:pt x="1792" y="64"/>
                  </a:lnTo>
                  <a:lnTo>
                    <a:pt x="1646" y="73"/>
                  </a:lnTo>
                  <a:lnTo>
                    <a:pt x="1540" y="136"/>
                  </a:lnTo>
                  <a:lnTo>
                    <a:pt x="1369" y="136"/>
                  </a:lnTo>
                  <a:lnTo>
                    <a:pt x="1255" y="136"/>
                  </a:lnTo>
                  <a:lnTo>
                    <a:pt x="1141" y="136"/>
                  </a:lnTo>
                  <a:lnTo>
                    <a:pt x="970" y="136"/>
                  </a:lnTo>
                  <a:lnTo>
                    <a:pt x="855" y="193"/>
                  </a:lnTo>
                  <a:lnTo>
                    <a:pt x="627" y="307"/>
                  </a:lnTo>
                  <a:lnTo>
                    <a:pt x="513" y="364"/>
                  </a:lnTo>
                  <a:lnTo>
                    <a:pt x="342" y="421"/>
                  </a:lnTo>
                  <a:lnTo>
                    <a:pt x="202" y="521"/>
                  </a:lnTo>
                  <a:lnTo>
                    <a:pt x="114" y="592"/>
                  </a:lnTo>
                  <a:lnTo>
                    <a:pt x="57" y="649"/>
                  </a:lnTo>
                  <a:lnTo>
                    <a:pt x="57" y="707"/>
                  </a:lnTo>
                  <a:lnTo>
                    <a:pt x="0" y="764"/>
                  </a:lnTo>
                  <a:lnTo>
                    <a:pt x="57" y="821"/>
                  </a:lnTo>
                  <a:lnTo>
                    <a:pt x="0" y="878"/>
                  </a:lnTo>
                  <a:lnTo>
                    <a:pt x="147" y="878"/>
                  </a:lnTo>
                  <a:lnTo>
                    <a:pt x="285" y="878"/>
                  </a:lnTo>
                  <a:lnTo>
                    <a:pt x="399" y="935"/>
                  </a:lnTo>
                  <a:lnTo>
                    <a:pt x="456" y="992"/>
                  </a:lnTo>
                  <a:lnTo>
                    <a:pt x="494" y="1088"/>
                  </a:lnTo>
                  <a:lnTo>
                    <a:pt x="586" y="1198"/>
                  </a:lnTo>
                  <a:lnTo>
                    <a:pt x="714" y="1207"/>
                  </a:lnTo>
                  <a:lnTo>
                    <a:pt x="805" y="1216"/>
                  </a:lnTo>
                  <a:lnTo>
                    <a:pt x="878" y="1253"/>
                  </a:lnTo>
                  <a:lnTo>
                    <a:pt x="896" y="1353"/>
                  </a:lnTo>
                  <a:lnTo>
                    <a:pt x="878" y="1463"/>
                  </a:lnTo>
                  <a:lnTo>
                    <a:pt x="970" y="1505"/>
                  </a:lnTo>
                  <a:lnTo>
                    <a:pt x="1015" y="1609"/>
                  </a:lnTo>
                  <a:lnTo>
                    <a:pt x="1027" y="1676"/>
                  </a:lnTo>
                  <a:lnTo>
                    <a:pt x="1027" y="1733"/>
                  </a:lnTo>
                  <a:lnTo>
                    <a:pt x="1027" y="1790"/>
                  </a:lnTo>
                  <a:lnTo>
                    <a:pt x="1027" y="1904"/>
                  </a:lnTo>
                  <a:lnTo>
                    <a:pt x="912" y="1961"/>
                  </a:lnTo>
                  <a:lnTo>
                    <a:pt x="912" y="2075"/>
                  </a:lnTo>
                  <a:lnTo>
                    <a:pt x="855" y="2132"/>
                  </a:lnTo>
                  <a:lnTo>
                    <a:pt x="798" y="2247"/>
                  </a:lnTo>
                  <a:lnTo>
                    <a:pt x="798" y="2304"/>
                  </a:lnTo>
                  <a:lnTo>
                    <a:pt x="684" y="2418"/>
                  </a:lnTo>
                  <a:lnTo>
                    <a:pt x="627" y="2475"/>
                  </a:lnTo>
                  <a:lnTo>
                    <a:pt x="627" y="2589"/>
                  </a:lnTo>
                  <a:lnTo>
                    <a:pt x="627" y="2703"/>
                  </a:lnTo>
                  <a:lnTo>
                    <a:pt x="650" y="2816"/>
                  </a:lnTo>
                  <a:lnTo>
                    <a:pt x="627" y="2931"/>
                  </a:lnTo>
                  <a:lnTo>
                    <a:pt x="684" y="2931"/>
                  </a:lnTo>
                  <a:lnTo>
                    <a:pt x="798" y="2874"/>
                  </a:lnTo>
                  <a:lnTo>
                    <a:pt x="912" y="2760"/>
                  </a:lnTo>
                  <a:lnTo>
                    <a:pt x="970" y="2760"/>
                  </a:lnTo>
                  <a:lnTo>
                    <a:pt x="1084" y="2760"/>
                  </a:lnTo>
                  <a:lnTo>
                    <a:pt x="1152" y="2707"/>
                  </a:lnTo>
                  <a:lnTo>
                    <a:pt x="1244" y="2679"/>
                  </a:lnTo>
                  <a:lnTo>
                    <a:pt x="1326" y="2643"/>
                  </a:lnTo>
                  <a:lnTo>
                    <a:pt x="1426" y="2532"/>
                  </a:lnTo>
                  <a:lnTo>
                    <a:pt x="1540" y="2589"/>
                  </a:lnTo>
                  <a:lnTo>
                    <a:pt x="1619" y="2515"/>
                  </a:lnTo>
                  <a:lnTo>
                    <a:pt x="1774" y="2515"/>
                  </a:lnTo>
                  <a:lnTo>
                    <a:pt x="1920" y="2487"/>
                  </a:lnTo>
                  <a:lnTo>
                    <a:pt x="2039" y="2478"/>
                  </a:lnTo>
                  <a:lnTo>
                    <a:pt x="2186" y="2414"/>
                  </a:lnTo>
                  <a:lnTo>
                    <a:pt x="2176" y="2286"/>
                  </a:lnTo>
                  <a:lnTo>
                    <a:pt x="2176" y="2185"/>
                  </a:lnTo>
                  <a:lnTo>
                    <a:pt x="2186" y="2076"/>
                  </a:lnTo>
                  <a:lnTo>
                    <a:pt x="2277" y="1993"/>
                  </a:lnTo>
                  <a:lnTo>
                    <a:pt x="2359" y="1929"/>
                  </a:lnTo>
                  <a:lnTo>
                    <a:pt x="2452" y="1847"/>
                  </a:lnTo>
                  <a:lnTo>
                    <a:pt x="2597" y="1829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66" name="Freeform 60">
              <a:extLst>
                <a:ext uri="{FF2B5EF4-FFF2-40B4-BE49-F238E27FC236}">
                  <a16:creationId xmlns:a16="http://schemas.microsoft.com/office/drawing/2014/main" id="{85431745-1A76-C876-51CE-9574DE175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6161" y="1933575"/>
              <a:ext cx="958850" cy="1335087"/>
            </a:xfrm>
            <a:custGeom>
              <a:avLst/>
              <a:gdLst>
                <a:gd name="T0" fmla="*/ 1569 w 3289"/>
                <a:gd name="T1" fmla="*/ 1198 h 4638"/>
                <a:gd name="T2" fmla="*/ 1712 w 3289"/>
                <a:gd name="T3" fmla="*/ 982 h 4638"/>
                <a:gd name="T4" fmla="*/ 1666 w 3289"/>
                <a:gd name="T5" fmla="*/ 601 h 4638"/>
                <a:gd name="T6" fmla="*/ 1588 w 3289"/>
                <a:gd name="T7" fmla="*/ 359 h 4638"/>
                <a:gd name="T8" fmla="*/ 1272 w 3289"/>
                <a:gd name="T9" fmla="*/ 202 h 4638"/>
                <a:gd name="T10" fmla="*/ 1100 w 3289"/>
                <a:gd name="T11" fmla="*/ 0 h 4638"/>
                <a:gd name="T12" fmla="*/ 893 w 3289"/>
                <a:gd name="T13" fmla="*/ 118 h 4638"/>
                <a:gd name="T14" fmla="*/ 893 w 3289"/>
                <a:gd name="T15" fmla="*/ 336 h 4638"/>
                <a:gd name="T16" fmla="*/ 846 w 3289"/>
                <a:gd name="T17" fmla="*/ 554 h 4638"/>
                <a:gd name="T18" fmla="*/ 611 w 3289"/>
                <a:gd name="T19" fmla="*/ 828 h 4638"/>
                <a:gd name="T20" fmla="*/ 376 w 3289"/>
                <a:gd name="T21" fmla="*/ 1046 h 4638"/>
                <a:gd name="T22" fmla="*/ 234 w 3289"/>
                <a:gd name="T23" fmla="*/ 1277 h 4638"/>
                <a:gd name="T24" fmla="*/ 150 w 3289"/>
                <a:gd name="T25" fmla="*/ 1590 h 4638"/>
                <a:gd name="T26" fmla="*/ 75 w 3289"/>
                <a:gd name="T27" fmla="*/ 1929 h 4638"/>
                <a:gd name="T28" fmla="*/ 144 w 3289"/>
                <a:gd name="T29" fmla="*/ 2246 h 4638"/>
                <a:gd name="T30" fmla="*/ 94 w 3289"/>
                <a:gd name="T31" fmla="*/ 2464 h 4638"/>
                <a:gd name="T32" fmla="*/ 0 w 3289"/>
                <a:gd name="T33" fmla="*/ 2683 h 4638"/>
                <a:gd name="T34" fmla="*/ 0 w 3289"/>
                <a:gd name="T35" fmla="*/ 2955 h 4638"/>
                <a:gd name="T36" fmla="*/ 188 w 3289"/>
                <a:gd name="T37" fmla="*/ 3282 h 4638"/>
                <a:gd name="T38" fmla="*/ 470 w 3289"/>
                <a:gd name="T39" fmla="*/ 3555 h 4638"/>
                <a:gd name="T40" fmla="*/ 705 w 3289"/>
                <a:gd name="T41" fmla="*/ 3555 h 4638"/>
                <a:gd name="T42" fmla="*/ 1001 w 3289"/>
                <a:gd name="T43" fmla="*/ 3505 h 4638"/>
                <a:gd name="T44" fmla="*/ 1390 w 3289"/>
                <a:gd name="T45" fmla="*/ 3750 h 4638"/>
                <a:gd name="T46" fmla="*/ 1503 w 3289"/>
                <a:gd name="T47" fmla="*/ 4047 h 4638"/>
                <a:gd name="T48" fmla="*/ 1409 w 3289"/>
                <a:gd name="T49" fmla="*/ 4317 h 4638"/>
                <a:gd name="T50" fmla="*/ 1554 w 3289"/>
                <a:gd name="T51" fmla="*/ 4615 h 4638"/>
                <a:gd name="T52" fmla="*/ 1880 w 3289"/>
                <a:gd name="T53" fmla="*/ 4538 h 4638"/>
                <a:gd name="T54" fmla="*/ 1792 w 3289"/>
                <a:gd name="T55" fmla="*/ 4163 h 4638"/>
                <a:gd name="T56" fmla="*/ 2067 w 3289"/>
                <a:gd name="T57" fmla="*/ 3883 h 4638"/>
                <a:gd name="T58" fmla="*/ 2002 w 3289"/>
                <a:gd name="T59" fmla="*/ 3620 h 4638"/>
                <a:gd name="T60" fmla="*/ 1917 w 3289"/>
                <a:gd name="T61" fmla="*/ 3329 h 4638"/>
                <a:gd name="T62" fmla="*/ 1877 w 3289"/>
                <a:gd name="T63" fmla="*/ 3123 h 4638"/>
                <a:gd name="T64" fmla="*/ 2174 w 3289"/>
                <a:gd name="T65" fmla="*/ 3123 h 4638"/>
                <a:gd name="T66" fmla="*/ 2349 w 3289"/>
                <a:gd name="T67" fmla="*/ 3173 h 4638"/>
                <a:gd name="T68" fmla="*/ 2490 w 3289"/>
                <a:gd name="T69" fmla="*/ 3337 h 4638"/>
                <a:gd name="T70" fmla="*/ 2675 w 3289"/>
                <a:gd name="T71" fmla="*/ 3620 h 4638"/>
                <a:gd name="T72" fmla="*/ 2866 w 3289"/>
                <a:gd name="T73" fmla="*/ 3555 h 4638"/>
                <a:gd name="T74" fmla="*/ 3116 w 3289"/>
                <a:gd name="T75" fmla="*/ 3513 h 4638"/>
                <a:gd name="T76" fmla="*/ 3289 w 3289"/>
                <a:gd name="T77" fmla="*/ 3446 h 4638"/>
                <a:gd name="T78" fmla="*/ 3195 w 3289"/>
                <a:gd name="T79" fmla="*/ 3119 h 4638"/>
                <a:gd name="T80" fmla="*/ 3050 w 3289"/>
                <a:gd name="T81" fmla="*/ 2985 h 4638"/>
                <a:gd name="T82" fmla="*/ 3054 w 3289"/>
                <a:gd name="T83" fmla="*/ 2737 h 4638"/>
                <a:gd name="T84" fmla="*/ 2885 w 3289"/>
                <a:gd name="T85" fmla="*/ 2633 h 4638"/>
                <a:gd name="T86" fmla="*/ 2631 w 3289"/>
                <a:gd name="T87" fmla="*/ 2573 h 4638"/>
                <a:gd name="T88" fmla="*/ 2418 w 3289"/>
                <a:gd name="T89" fmla="*/ 2510 h 4638"/>
                <a:gd name="T90" fmla="*/ 2161 w 3289"/>
                <a:gd name="T91" fmla="*/ 2410 h 4638"/>
                <a:gd name="T92" fmla="*/ 1745 w 3289"/>
                <a:gd name="T93" fmla="*/ 2464 h 4638"/>
                <a:gd name="T94" fmla="*/ 1594 w 3289"/>
                <a:gd name="T95" fmla="*/ 2625 h 4638"/>
                <a:gd name="T96" fmla="*/ 1337 w 3289"/>
                <a:gd name="T97" fmla="*/ 2602 h 4638"/>
                <a:gd name="T98" fmla="*/ 1436 w 3289"/>
                <a:gd name="T99" fmla="*/ 2151 h 4638"/>
                <a:gd name="T100" fmla="*/ 1400 w 3289"/>
                <a:gd name="T101" fmla="*/ 1854 h 4638"/>
                <a:gd name="T102" fmla="*/ 1521 w 3289"/>
                <a:gd name="T103" fmla="*/ 1367 h 4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89" h="4638">
                  <a:moveTo>
                    <a:pt x="1521" y="1367"/>
                  </a:moveTo>
                  <a:lnTo>
                    <a:pt x="1522" y="1309"/>
                  </a:lnTo>
                  <a:lnTo>
                    <a:pt x="1569" y="1198"/>
                  </a:lnTo>
                  <a:lnTo>
                    <a:pt x="1616" y="1145"/>
                  </a:lnTo>
                  <a:lnTo>
                    <a:pt x="1616" y="1034"/>
                  </a:lnTo>
                  <a:lnTo>
                    <a:pt x="1712" y="982"/>
                  </a:lnTo>
                  <a:lnTo>
                    <a:pt x="1712" y="761"/>
                  </a:lnTo>
                  <a:lnTo>
                    <a:pt x="1702" y="700"/>
                  </a:lnTo>
                  <a:lnTo>
                    <a:pt x="1666" y="601"/>
                  </a:lnTo>
                  <a:lnTo>
                    <a:pt x="1586" y="560"/>
                  </a:lnTo>
                  <a:lnTo>
                    <a:pt x="1604" y="459"/>
                  </a:lnTo>
                  <a:lnTo>
                    <a:pt x="1588" y="359"/>
                  </a:lnTo>
                  <a:lnTo>
                    <a:pt x="1529" y="322"/>
                  </a:lnTo>
                  <a:lnTo>
                    <a:pt x="1347" y="307"/>
                  </a:lnTo>
                  <a:lnTo>
                    <a:pt x="1272" y="202"/>
                  </a:lnTo>
                  <a:lnTo>
                    <a:pt x="1242" y="112"/>
                  </a:lnTo>
                  <a:lnTo>
                    <a:pt x="1195" y="55"/>
                  </a:lnTo>
                  <a:lnTo>
                    <a:pt x="1100" y="0"/>
                  </a:lnTo>
                  <a:lnTo>
                    <a:pt x="867" y="1"/>
                  </a:lnTo>
                  <a:lnTo>
                    <a:pt x="935" y="61"/>
                  </a:lnTo>
                  <a:lnTo>
                    <a:pt x="893" y="118"/>
                  </a:lnTo>
                  <a:lnTo>
                    <a:pt x="893" y="172"/>
                  </a:lnTo>
                  <a:lnTo>
                    <a:pt x="893" y="227"/>
                  </a:lnTo>
                  <a:lnTo>
                    <a:pt x="893" y="336"/>
                  </a:lnTo>
                  <a:lnTo>
                    <a:pt x="940" y="390"/>
                  </a:lnTo>
                  <a:lnTo>
                    <a:pt x="893" y="445"/>
                  </a:lnTo>
                  <a:lnTo>
                    <a:pt x="846" y="554"/>
                  </a:lnTo>
                  <a:lnTo>
                    <a:pt x="752" y="663"/>
                  </a:lnTo>
                  <a:lnTo>
                    <a:pt x="705" y="773"/>
                  </a:lnTo>
                  <a:lnTo>
                    <a:pt x="611" y="828"/>
                  </a:lnTo>
                  <a:lnTo>
                    <a:pt x="516" y="882"/>
                  </a:lnTo>
                  <a:lnTo>
                    <a:pt x="423" y="937"/>
                  </a:lnTo>
                  <a:lnTo>
                    <a:pt x="376" y="1046"/>
                  </a:lnTo>
                  <a:lnTo>
                    <a:pt x="339" y="1094"/>
                  </a:lnTo>
                  <a:lnTo>
                    <a:pt x="336" y="1157"/>
                  </a:lnTo>
                  <a:lnTo>
                    <a:pt x="234" y="1277"/>
                  </a:lnTo>
                  <a:lnTo>
                    <a:pt x="209" y="1376"/>
                  </a:lnTo>
                  <a:lnTo>
                    <a:pt x="194" y="1484"/>
                  </a:lnTo>
                  <a:lnTo>
                    <a:pt x="150" y="1590"/>
                  </a:lnTo>
                  <a:lnTo>
                    <a:pt x="116" y="1703"/>
                  </a:lnTo>
                  <a:lnTo>
                    <a:pt x="102" y="1814"/>
                  </a:lnTo>
                  <a:lnTo>
                    <a:pt x="75" y="1929"/>
                  </a:lnTo>
                  <a:lnTo>
                    <a:pt x="110" y="2037"/>
                  </a:lnTo>
                  <a:lnTo>
                    <a:pt x="99" y="2189"/>
                  </a:lnTo>
                  <a:lnTo>
                    <a:pt x="144" y="2246"/>
                  </a:lnTo>
                  <a:lnTo>
                    <a:pt x="107" y="2303"/>
                  </a:lnTo>
                  <a:lnTo>
                    <a:pt x="138" y="2414"/>
                  </a:lnTo>
                  <a:lnTo>
                    <a:pt x="94" y="2464"/>
                  </a:lnTo>
                  <a:lnTo>
                    <a:pt x="94" y="2519"/>
                  </a:lnTo>
                  <a:lnTo>
                    <a:pt x="47" y="2628"/>
                  </a:lnTo>
                  <a:lnTo>
                    <a:pt x="0" y="2683"/>
                  </a:lnTo>
                  <a:lnTo>
                    <a:pt x="0" y="2792"/>
                  </a:lnTo>
                  <a:lnTo>
                    <a:pt x="47" y="2846"/>
                  </a:lnTo>
                  <a:lnTo>
                    <a:pt x="0" y="2955"/>
                  </a:lnTo>
                  <a:lnTo>
                    <a:pt x="0" y="3064"/>
                  </a:lnTo>
                  <a:lnTo>
                    <a:pt x="94" y="3173"/>
                  </a:lnTo>
                  <a:lnTo>
                    <a:pt x="188" y="3282"/>
                  </a:lnTo>
                  <a:lnTo>
                    <a:pt x="235" y="3391"/>
                  </a:lnTo>
                  <a:lnTo>
                    <a:pt x="329" y="3536"/>
                  </a:lnTo>
                  <a:lnTo>
                    <a:pt x="470" y="3555"/>
                  </a:lnTo>
                  <a:lnTo>
                    <a:pt x="513" y="3505"/>
                  </a:lnTo>
                  <a:lnTo>
                    <a:pt x="611" y="3501"/>
                  </a:lnTo>
                  <a:lnTo>
                    <a:pt x="705" y="3555"/>
                  </a:lnTo>
                  <a:lnTo>
                    <a:pt x="816" y="3505"/>
                  </a:lnTo>
                  <a:lnTo>
                    <a:pt x="909" y="3490"/>
                  </a:lnTo>
                  <a:lnTo>
                    <a:pt x="1001" y="3505"/>
                  </a:lnTo>
                  <a:lnTo>
                    <a:pt x="1060" y="3658"/>
                  </a:lnTo>
                  <a:lnTo>
                    <a:pt x="1185" y="3773"/>
                  </a:lnTo>
                  <a:lnTo>
                    <a:pt x="1390" y="3750"/>
                  </a:lnTo>
                  <a:lnTo>
                    <a:pt x="1495" y="3766"/>
                  </a:lnTo>
                  <a:lnTo>
                    <a:pt x="1508" y="3942"/>
                  </a:lnTo>
                  <a:lnTo>
                    <a:pt x="1503" y="4047"/>
                  </a:lnTo>
                  <a:lnTo>
                    <a:pt x="1456" y="4101"/>
                  </a:lnTo>
                  <a:lnTo>
                    <a:pt x="1409" y="4210"/>
                  </a:lnTo>
                  <a:lnTo>
                    <a:pt x="1409" y="4317"/>
                  </a:lnTo>
                  <a:lnTo>
                    <a:pt x="1409" y="4428"/>
                  </a:lnTo>
                  <a:lnTo>
                    <a:pt x="1456" y="4538"/>
                  </a:lnTo>
                  <a:lnTo>
                    <a:pt x="1554" y="4615"/>
                  </a:lnTo>
                  <a:lnTo>
                    <a:pt x="1660" y="4630"/>
                  </a:lnTo>
                  <a:lnTo>
                    <a:pt x="1765" y="4638"/>
                  </a:lnTo>
                  <a:lnTo>
                    <a:pt x="1880" y="4538"/>
                  </a:lnTo>
                  <a:lnTo>
                    <a:pt x="1890" y="4470"/>
                  </a:lnTo>
                  <a:lnTo>
                    <a:pt x="1792" y="4309"/>
                  </a:lnTo>
                  <a:lnTo>
                    <a:pt x="1792" y="4163"/>
                  </a:lnTo>
                  <a:lnTo>
                    <a:pt x="1833" y="3992"/>
                  </a:lnTo>
                  <a:lnTo>
                    <a:pt x="1930" y="3896"/>
                  </a:lnTo>
                  <a:lnTo>
                    <a:pt x="2067" y="3883"/>
                  </a:lnTo>
                  <a:lnTo>
                    <a:pt x="2121" y="3804"/>
                  </a:lnTo>
                  <a:lnTo>
                    <a:pt x="2029" y="3720"/>
                  </a:lnTo>
                  <a:lnTo>
                    <a:pt x="2002" y="3620"/>
                  </a:lnTo>
                  <a:lnTo>
                    <a:pt x="2062" y="3498"/>
                  </a:lnTo>
                  <a:lnTo>
                    <a:pt x="2022" y="3398"/>
                  </a:lnTo>
                  <a:lnTo>
                    <a:pt x="1917" y="3329"/>
                  </a:lnTo>
                  <a:lnTo>
                    <a:pt x="1811" y="3291"/>
                  </a:lnTo>
                  <a:lnTo>
                    <a:pt x="1833" y="3173"/>
                  </a:lnTo>
                  <a:lnTo>
                    <a:pt x="1877" y="3123"/>
                  </a:lnTo>
                  <a:lnTo>
                    <a:pt x="1976" y="3123"/>
                  </a:lnTo>
                  <a:lnTo>
                    <a:pt x="2075" y="3115"/>
                  </a:lnTo>
                  <a:lnTo>
                    <a:pt x="2174" y="3123"/>
                  </a:lnTo>
                  <a:lnTo>
                    <a:pt x="2255" y="3119"/>
                  </a:lnTo>
                  <a:lnTo>
                    <a:pt x="2292" y="3130"/>
                  </a:lnTo>
                  <a:lnTo>
                    <a:pt x="2349" y="3173"/>
                  </a:lnTo>
                  <a:lnTo>
                    <a:pt x="2396" y="3228"/>
                  </a:lnTo>
                  <a:lnTo>
                    <a:pt x="2443" y="3282"/>
                  </a:lnTo>
                  <a:lnTo>
                    <a:pt x="2490" y="3337"/>
                  </a:lnTo>
                  <a:lnTo>
                    <a:pt x="2523" y="3459"/>
                  </a:lnTo>
                  <a:lnTo>
                    <a:pt x="2582" y="3505"/>
                  </a:lnTo>
                  <a:lnTo>
                    <a:pt x="2675" y="3620"/>
                  </a:lnTo>
                  <a:lnTo>
                    <a:pt x="2725" y="3610"/>
                  </a:lnTo>
                  <a:lnTo>
                    <a:pt x="2866" y="3555"/>
                  </a:lnTo>
                  <a:lnTo>
                    <a:pt x="2866" y="3555"/>
                  </a:lnTo>
                  <a:lnTo>
                    <a:pt x="2960" y="3555"/>
                  </a:lnTo>
                  <a:lnTo>
                    <a:pt x="3037" y="3513"/>
                  </a:lnTo>
                  <a:lnTo>
                    <a:pt x="3116" y="3513"/>
                  </a:lnTo>
                  <a:lnTo>
                    <a:pt x="3182" y="3528"/>
                  </a:lnTo>
                  <a:lnTo>
                    <a:pt x="3268" y="3536"/>
                  </a:lnTo>
                  <a:lnTo>
                    <a:pt x="3289" y="3446"/>
                  </a:lnTo>
                  <a:lnTo>
                    <a:pt x="3254" y="3352"/>
                  </a:lnTo>
                  <a:lnTo>
                    <a:pt x="3242" y="3228"/>
                  </a:lnTo>
                  <a:lnTo>
                    <a:pt x="3195" y="3119"/>
                  </a:lnTo>
                  <a:lnTo>
                    <a:pt x="3054" y="3064"/>
                  </a:lnTo>
                  <a:lnTo>
                    <a:pt x="3054" y="3064"/>
                  </a:lnTo>
                  <a:lnTo>
                    <a:pt x="3050" y="2985"/>
                  </a:lnTo>
                  <a:lnTo>
                    <a:pt x="3054" y="2901"/>
                  </a:lnTo>
                  <a:lnTo>
                    <a:pt x="3054" y="2901"/>
                  </a:lnTo>
                  <a:lnTo>
                    <a:pt x="3054" y="2737"/>
                  </a:lnTo>
                  <a:lnTo>
                    <a:pt x="3007" y="2628"/>
                  </a:lnTo>
                  <a:lnTo>
                    <a:pt x="3007" y="2628"/>
                  </a:lnTo>
                  <a:lnTo>
                    <a:pt x="2885" y="2633"/>
                  </a:lnTo>
                  <a:lnTo>
                    <a:pt x="2754" y="2579"/>
                  </a:lnTo>
                  <a:lnTo>
                    <a:pt x="2678" y="2519"/>
                  </a:lnTo>
                  <a:lnTo>
                    <a:pt x="2631" y="2573"/>
                  </a:lnTo>
                  <a:lnTo>
                    <a:pt x="2543" y="2556"/>
                  </a:lnTo>
                  <a:lnTo>
                    <a:pt x="2464" y="2541"/>
                  </a:lnTo>
                  <a:lnTo>
                    <a:pt x="2418" y="2510"/>
                  </a:lnTo>
                  <a:lnTo>
                    <a:pt x="2385" y="2411"/>
                  </a:lnTo>
                  <a:lnTo>
                    <a:pt x="2259" y="2411"/>
                  </a:lnTo>
                  <a:lnTo>
                    <a:pt x="2161" y="2410"/>
                  </a:lnTo>
                  <a:lnTo>
                    <a:pt x="2009" y="2434"/>
                  </a:lnTo>
                  <a:lnTo>
                    <a:pt x="1880" y="2410"/>
                  </a:lnTo>
                  <a:lnTo>
                    <a:pt x="1745" y="2464"/>
                  </a:lnTo>
                  <a:lnTo>
                    <a:pt x="1660" y="2526"/>
                  </a:lnTo>
                  <a:lnTo>
                    <a:pt x="1692" y="2573"/>
                  </a:lnTo>
                  <a:lnTo>
                    <a:pt x="1594" y="2625"/>
                  </a:lnTo>
                  <a:lnTo>
                    <a:pt x="1475" y="2679"/>
                  </a:lnTo>
                  <a:lnTo>
                    <a:pt x="1376" y="2686"/>
                  </a:lnTo>
                  <a:lnTo>
                    <a:pt x="1337" y="2602"/>
                  </a:lnTo>
                  <a:lnTo>
                    <a:pt x="1330" y="2426"/>
                  </a:lnTo>
                  <a:lnTo>
                    <a:pt x="1383" y="2281"/>
                  </a:lnTo>
                  <a:lnTo>
                    <a:pt x="1436" y="2151"/>
                  </a:lnTo>
                  <a:lnTo>
                    <a:pt x="1421" y="1964"/>
                  </a:lnTo>
                  <a:lnTo>
                    <a:pt x="1381" y="1964"/>
                  </a:lnTo>
                  <a:lnTo>
                    <a:pt x="1400" y="1854"/>
                  </a:lnTo>
                  <a:lnTo>
                    <a:pt x="1381" y="1740"/>
                  </a:lnTo>
                  <a:lnTo>
                    <a:pt x="1381" y="1527"/>
                  </a:lnTo>
                  <a:lnTo>
                    <a:pt x="1521" y="1367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67" name="Freeform 61">
              <a:extLst>
                <a:ext uri="{FF2B5EF4-FFF2-40B4-BE49-F238E27FC236}">
                  <a16:creationId xmlns:a16="http://schemas.microsoft.com/office/drawing/2014/main" id="{522D96A2-A8F0-8D68-ECA5-A28025E8C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1923" y="1954213"/>
              <a:ext cx="995362" cy="1044575"/>
            </a:xfrm>
            <a:custGeom>
              <a:avLst/>
              <a:gdLst>
                <a:gd name="T0" fmla="*/ 2120 w 3408"/>
                <a:gd name="T1" fmla="*/ 531 h 3631"/>
                <a:gd name="T2" fmla="*/ 2104 w 3408"/>
                <a:gd name="T3" fmla="*/ 256 h 3631"/>
                <a:gd name="T4" fmla="*/ 2163 w 3408"/>
                <a:gd name="T5" fmla="*/ 0 h 3631"/>
                <a:gd name="T6" fmla="*/ 2403 w 3408"/>
                <a:gd name="T7" fmla="*/ 40 h 3631"/>
                <a:gd name="T8" fmla="*/ 2639 w 3408"/>
                <a:gd name="T9" fmla="*/ 11 h 3631"/>
                <a:gd name="T10" fmla="*/ 2919 w 3408"/>
                <a:gd name="T11" fmla="*/ 132 h 3631"/>
                <a:gd name="T12" fmla="*/ 3101 w 3408"/>
                <a:gd name="T13" fmla="*/ 412 h 3631"/>
                <a:gd name="T14" fmla="*/ 3195 w 3408"/>
                <a:gd name="T15" fmla="*/ 630 h 3631"/>
                <a:gd name="T16" fmla="*/ 3197 w 3408"/>
                <a:gd name="T17" fmla="*/ 849 h 3631"/>
                <a:gd name="T18" fmla="*/ 3250 w 3408"/>
                <a:gd name="T19" fmla="*/ 998 h 3631"/>
                <a:gd name="T20" fmla="*/ 3242 w 3408"/>
                <a:gd name="T21" fmla="*/ 1177 h 3631"/>
                <a:gd name="T22" fmla="*/ 3265 w 3408"/>
                <a:gd name="T23" fmla="*/ 1304 h 3631"/>
                <a:gd name="T24" fmla="*/ 3242 w 3408"/>
                <a:gd name="T25" fmla="*/ 1449 h 3631"/>
                <a:gd name="T26" fmla="*/ 3289 w 3408"/>
                <a:gd name="T27" fmla="*/ 1558 h 3631"/>
                <a:gd name="T28" fmla="*/ 3265 w 3408"/>
                <a:gd name="T29" fmla="*/ 1698 h 3631"/>
                <a:gd name="T30" fmla="*/ 3310 w 3408"/>
                <a:gd name="T31" fmla="*/ 1934 h 3631"/>
                <a:gd name="T32" fmla="*/ 3378 w 3408"/>
                <a:gd name="T33" fmla="*/ 2074 h 3631"/>
                <a:gd name="T34" fmla="*/ 3219 w 3408"/>
                <a:gd name="T35" fmla="*/ 2213 h 3631"/>
                <a:gd name="T36" fmla="*/ 3054 w 3408"/>
                <a:gd name="T37" fmla="*/ 2431 h 3631"/>
                <a:gd name="T38" fmla="*/ 3007 w 3408"/>
                <a:gd name="T39" fmla="*/ 2594 h 3631"/>
                <a:gd name="T40" fmla="*/ 3008 w 3408"/>
                <a:gd name="T41" fmla="*/ 2817 h 3631"/>
                <a:gd name="T42" fmla="*/ 3054 w 3408"/>
                <a:gd name="T43" fmla="*/ 2977 h 3631"/>
                <a:gd name="T44" fmla="*/ 2873 w 3408"/>
                <a:gd name="T45" fmla="*/ 3150 h 3631"/>
                <a:gd name="T46" fmla="*/ 2724 w 3408"/>
                <a:gd name="T47" fmla="*/ 3304 h 3631"/>
                <a:gd name="T48" fmla="*/ 2579 w 3408"/>
                <a:gd name="T49" fmla="*/ 3446 h 3631"/>
                <a:gd name="T50" fmla="*/ 2451 w 3408"/>
                <a:gd name="T51" fmla="*/ 3578 h 3631"/>
                <a:gd name="T52" fmla="*/ 2207 w 3408"/>
                <a:gd name="T53" fmla="*/ 3631 h 3631"/>
                <a:gd name="T54" fmla="*/ 2014 w 3408"/>
                <a:gd name="T55" fmla="*/ 3499 h 3631"/>
                <a:gd name="T56" fmla="*/ 1959 w 3408"/>
                <a:gd name="T57" fmla="*/ 3375 h 3631"/>
                <a:gd name="T58" fmla="*/ 1912 w 3408"/>
                <a:gd name="T59" fmla="*/ 3158 h 3631"/>
                <a:gd name="T60" fmla="*/ 1725 w 3408"/>
                <a:gd name="T61" fmla="*/ 2996 h 3631"/>
                <a:gd name="T62" fmla="*/ 1725 w 3408"/>
                <a:gd name="T63" fmla="*/ 2813 h 3631"/>
                <a:gd name="T64" fmla="*/ 1676 w 3408"/>
                <a:gd name="T65" fmla="*/ 2558 h 3631"/>
                <a:gd name="T66" fmla="*/ 1423 w 3408"/>
                <a:gd name="T67" fmla="*/ 2508 h 3631"/>
                <a:gd name="T68" fmla="*/ 1302 w 3408"/>
                <a:gd name="T69" fmla="*/ 2503 h 3631"/>
                <a:gd name="T70" fmla="*/ 1087 w 3408"/>
                <a:gd name="T71" fmla="*/ 2440 h 3631"/>
                <a:gd name="T72" fmla="*/ 833 w 3408"/>
                <a:gd name="T73" fmla="*/ 2342 h 3631"/>
                <a:gd name="T74" fmla="*/ 551 w 3408"/>
                <a:gd name="T75" fmla="*/ 2342 h 3631"/>
                <a:gd name="T76" fmla="*/ 331 w 3408"/>
                <a:gd name="T77" fmla="*/ 2456 h 3631"/>
                <a:gd name="T78" fmla="*/ 259 w 3408"/>
                <a:gd name="T79" fmla="*/ 2561 h 3631"/>
                <a:gd name="T80" fmla="*/ 49 w 3408"/>
                <a:gd name="T81" fmla="*/ 2617 h 3631"/>
                <a:gd name="T82" fmla="*/ 0 w 3408"/>
                <a:gd name="T83" fmla="*/ 2357 h 3631"/>
                <a:gd name="T84" fmla="*/ 108 w 3408"/>
                <a:gd name="T85" fmla="*/ 2089 h 3631"/>
                <a:gd name="T86" fmla="*/ 193 w 3408"/>
                <a:gd name="T87" fmla="*/ 1840 h 3631"/>
                <a:gd name="T88" fmla="*/ 428 w 3408"/>
                <a:gd name="T89" fmla="*/ 1730 h 3631"/>
                <a:gd name="T90" fmla="*/ 554 w 3408"/>
                <a:gd name="T91" fmla="*/ 1656 h 3631"/>
                <a:gd name="T92" fmla="*/ 711 w 3408"/>
                <a:gd name="T93" fmla="*/ 1512 h 3631"/>
                <a:gd name="T94" fmla="*/ 867 w 3408"/>
                <a:gd name="T95" fmla="*/ 1498 h 3631"/>
                <a:gd name="T96" fmla="*/ 1117 w 3408"/>
                <a:gd name="T97" fmla="*/ 1470 h 3631"/>
                <a:gd name="T98" fmla="*/ 1337 w 3408"/>
                <a:gd name="T99" fmla="*/ 1400 h 3631"/>
                <a:gd name="T100" fmla="*/ 1327 w 3408"/>
                <a:gd name="T101" fmla="*/ 1177 h 3631"/>
                <a:gd name="T102" fmla="*/ 1414 w 3408"/>
                <a:gd name="T103" fmla="*/ 993 h 3631"/>
                <a:gd name="T104" fmla="*/ 1557 w 3408"/>
                <a:gd name="T105" fmla="*/ 856 h 3631"/>
                <a:gd name="T106" fmla="*/ 1811 w 3408"/>
                <a:gd name="T107" fmla="*/ 726 h 3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08" h="3631">
                  <a:moveTo>
                    <a:pt x="1975" y="649"/>
                  </a:moveTo>
                  <a:lnTo>
                    <a:pt x="2120" y="531"/>
                  </a:lnTo>
                  <a:lnTo>
                    <a:pt x="2165" y="397"/>
                  </a:lnTo>
                  <a:lnTo>
                    <a:pt x="2104" y="256"/>
                  </a:lnTo>
                  <a:lnTo>
                    <a:pt x="2095" y="99"/>
                  </a:lnTo>
                  <a:lnTo>
                    <a:pt x="2163" y="0"/>
                  </a:lnTo>
                  <a:lnTo>
                    <a:pt x="2262" y="40"/>
                  </a:lnTo>
                  <a:lnTo>
                    <a:pt x="2403" y="40"/>
                  </a:lnTo>
                  <a:lnTo>
                    <a:pt x="2565" y="99"/>
                  </a:lnTo>
                  <a:lnTo>
                    <a:pt x="2639" y="11"/>
                  </a:lnTo>
                  <a:lnTo>
                    <a:pt x="2768" y="89"/>
                  </a:lnTo>
                  <a:lnTo>
                    <a:pt x="2919" y="132"/>
                  </a:lnTo>
                  <a:lnTo>
                    <a:pt x="3001" y="202"/>
                  </a:lnTo>
                  <a:lnTo>
                    <a:pt x="3101" y="412"/>
                  </a:lnTo>
                  <a:lnTo>
                    <a:pt x="3148" y="521"/>
                  </a:lnTo>
                  <a:lnTo>
                    <a:pt x="3195" y="630"/>
                  </a:lnTo>
                  <a:lnTo>
                    <a:pt x="3197" y="762"/>
                  </a:lnTo>
                  <a:lnTo>
                    <a:pt x="3197" y="849"/>
                  </a:lnTo>
                  <a:lnTo>
                    <a:pt x="3212" y="919"/>
                  </a:lnTo>
                  <a:lnTo>
                    <a:pt x="3250" y="998"/>
                  </a:lnTo>
                  <a:lnTo>
                    <a:pt x="3242" y="1122"/>
                  </a:lnTo>
                  <a:lnTo>
                    <a:pt x="3242" y="1177"/>
                  </a:lnTo>
                  <a:lnTo>
                    <a:pt x="3289" y="1231"/>
                  </a:lnTo>
                  <a:lnTo>
                    <a:pt x="3265" y="1304"/>
                  </a:lnTo>
                  <a:lnTo>
                    <a:pt x="3289" y="1395"/>
                  </a:lnTo>
                  <a:lnTo>
                    <a:pt x="3242" y="1449"/>
                  </a:lnTo>
                  <a:lnTo>
                    <a:pt x="3289" y="1504"/>
                  </a:lnTo>
                  <a:lnTo>
                    <a:pt x="3289" y="1558"/>
                  </a:lnTo>
                  <a:lnTo>
                    <a:pt x="3242" y="1613"/>
                  </a:lnTo>
                  <a:lnTo>
                    <a:pt x="3265" y="1698"/>
                  </a:lnTo>
                  <a:lnTo>
                    <a:pt x="3288" y="1829"/>
                  </a:lnTo>
                  <a:lnTo>
                    <a:pt x="3310" y="1934"/>
                  </a:lnTo>
                  <a:lnTo>
                    <a:pt x="3408" y="1995"/>
                  </a:lnTo>
                  <a:lnTo>
                    <a:pt x="3378" y="2074"/>
                  </a:lnTo>
                  <a:lnTo>
                    <a:pt x="3335" y="2158"/>
                  </a:lnTo>
                  <a:lnTo>
                    <a:pt x="3219" y="2213"/>
                  </a:lnTo>
                  <a:lnTo>
                    <a:pt x="3101" y="2322"/>
                  </a:lnTo>
                  <a:lnTo>
                    <a:pt x="3054" y="2431"/>
                  </a:lnTo>
                  <a:lnTo>
                    <a:pt x="3007" y="2485"/>
                  </a:lnTo>
                  <a:lnTo>
                    <a:pt x="3007" y="2594"/>
                  </a:lnTo>
                  <a:lnTo>
                    <a:pt x="3016" y="2695"/>
                  </a:lnTo>
                  <a:lnTo>
                    <a:pt x="3008" y="2817"/>
                  </a:lnTo>
                  <a:lnTo>
                    <a:pt x="3007" y="2922"/>
                  </a:lnTo>
                  <a:lnTo>
                    <a:pt x="3054" y="2977"/>
                  </a:lnTo>
                  <a:lnTo>
                    <a:pt x="2979" y="3097"/>
                  </a:lnTo>
                  <a:lnTo>
                    <a:pt x="2873" y="3150"/>
                  </a:lnTo>
                  <a:lnTo>
                    <a:pt x="2771" y="3249"/>
                  </a:lnTo>
                  <a:lnTo>
                    <a:pt x="2724" y="3304"/>
                  </a:lnTo>
                  <a:lnTo>
                    <a:pt x="2677" y="3358"/>
                  </a:lnTo>
                  <a:lnTo>
                    <a:pt x="2579" y="3446"/>
                  </a:lnTo>
                  <a:lnTo>
                    <a:pt x="2534" y="3526"/>
                  </a:lnTo>
                  <a:lnTo>
                    <a:pt x="2451" y="3578"/>
                  </a:lnTo>
                  <a:lnTo>
                    <a:pt x="2323" y="3587"/>
                  </a:lnTo>
                  <a:lnTo>
                    <a:pt x="2207" y="3631"/>
                  </a:lnTo>
                  <a:lnTo>
                    <a:pt x="2067" y="3578"/>
                  </a:lnTo>
                  <a:lnTo>
                    <a:pt x="2014" y="3499"/>
                  </a:lnTo>
                  <a:lnTo>
                    <a:pt x="1940" y="3465"/>
                  </a:lnTo>
                  <a:lnTo>
                    <a:pt x="1959" y="3375"/>
                  </a:lnTo>
                  <a:lnTo>
                    <a:pt x="1926" y="3281"/>
                  </a:lnTo>
                  <a:lnTo>
                    <a:pt x="1912" y="3158"/>
                  </a:lnTo>
                  <a:lnTo>
                    <a:pt x="1866" y="3048"/>
                  </a:lnTo>
                  <a:lnTo>
                    <a:pt x="1725" y="2996"/>
                  </a:lnTo>
                  <a:lnTo>
                    <a:pt x="1722" y="2913"/>
                  </a:lnTo>
                  <a:lnTo>
                    <a:pt x="1725" y="2813"/>
                  </a:lnTo>
                  <a:lnTo>
                    <a:pt x="1725" y="2669"/>
                  </a:lnTo>
                  <a:lnTo>
                    <a:pt x="1676" y="2558"/>
                  </a:lnTo>
                  <a:lnTo>
                    <a:pt x="1557" y="2563"/>
                  </a:lnTo>
                  <a:lnTo>
                    <a:pt x="1423" y="2508"/>
                  </a:lnTo>
                  <a:lnTo>
                    <a:pt x="1350" y="2448"/>
                  </a:lnTo>
                  <a:lnTo>
                    <a:pt x="1302" y="2503"/>
                  </a:lnTo>
                  <a:lnTo>
                    <a:pt x="1135" y="2474"/>
                  </a:lnTo>
                  <a:lnTo>
                    <a:pt x="1087" y="2440"/>
                  </a:lnTo>
                  <a:lnTo>
                    <a:pt x="1056" y="2342"/>
                  </a:lnTo>
                  <a:lnTo>
                    <a:pt x="833" y="2342"/>
                  </a:lnTo>
                  <a:lnTo>
                    <a:pt x="679" y="2365"/>
                  </a:lnTo>
                  <a:lnTo>
                    <a:pt x="551" y="2342"/>
                  </a:lnTo>
                  <a:lnTo>
                    <a:pt x="414" y="2394"/>
                  </a:lnTo>
                  <a:lnTo>
                    <a:pt x="331" y="2456"/>
                  </a:lnTo>
                  <a:lnTo>
                    <a:pt x="363" y="2505"/>
                  </a:lnTo>
                  <a:lnTo>
                    <a:pt x="259" y="2561"/>
                  </a:lnTo>
                  <a:lnTo>
                    <a:pt x="143" y="2609"/>
                  </a:lnTo>
                  <a:lnTo>
                    <a:pt x="49" y="2617"/>
                  </a:lnTo>
                  <a:lnTo>
                    <a:pt x="7" y="2534"/>
                  </a:lnTo>
                  <a:lnTo>
                    <a:pt x="0" y="2357"/>
                  </a:lnTo>
                  <a:lnTo>
                    <a:pt x="60" y="2211"/>
                  </a:lnTo>
                  <a:lnTo>
                    <a:pt x="108" y="2089"/>
                  </a:lnTo>
                  <a:lnTo>
                    <a:pt x="93" y="1898"/>
                  </a:lnTo>
                  <a:lnTo>
                    <a:pt x="193" y="1840"/>
                  </a:lnTo>
                  <a:lnTo>
                    <a:pt x="286" y="1731"/>
                  </a:lnTo>
                  <a:lnTo>
                    <a:pt x="428" y="1730"/>
                  </a:lnTo>
                  <a:lnTo>
                    <a:pt x="485" y="1680"/>
                  </a:lnTo>
                  <a:lnTo>
                    <a:pt x="554" y="1656"/>
                  </a:lnTo>
                  <a:lnTo>
                    <a:pt x="625" y="1622"/>
                  </a:lnTo>
                  <a:lnTo>
                    <a:pt x="711" y="1512"/>
                  </a:lnTo>
                  <a:lnTo>
                    <a:pt x="805" y="1568"/>
                  </a:lnTo>
                  <a:lnTo>
                    <a:pt x="867" y="1498"/>
                  </a:lnTo>
                  <a:lnTo>
                    <a:pt x="1000" y="1496"/>
                  </a:lnTo>
                  <a:lnTo>
                    <a:pt x="1117" y="1470"/>
                  </a:lnTo>
                  <a:lnTo>
                    <a:pt x="1216" y="1462"/>
                  </a:lnTo>
                  <a:lnTo>
                    <a:pt x="1337" y="1400"/>
                  </a:lnTo>
                  <a:lnTo>
                    <a:pt x="1327" y="1277"/>
                  </a:lnTo>
                  <a:lnTo>
                    <a:pt x="1327" y="1177"/>
                  </a:lnTo>
                  <a:lnTo>
                    <a:pt x="1337" y="1077"/>
                  </a:lnTo>
                  <a:lnTo>
                    <a:pt x="1414" y="993"/>
                  </a:lnTo>
                  <a:lnTo>
                    <a:pt x="1471" y="944"/>
                  </a:lnTo>
                  <a:lnTo>
                    <a:pt x="1557" y="856"/>
                  </a:lnTo>
                  <a:lnTo>
                    <a:pt x="1674" y="841"/>
                  </a:lnTo>
                  <a:lnTo>
                    <a:pt x="1811" y="726"/>
                  </a:lnTo>
                  <a:lnTo>
                    <a:pt x="1975" y="649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68" name="Freeform 62">
              <a:extLst>
                <a:ext uri="{FF2B5EF4-FFF2-40B4-BE49-F238E27FC236}">
                  <a16:creationId xmlns:a16="http://schemas.microsoft.com/office/drawing/2014/main" id="{46C1514C-789A-2141-DA3D-3457BFDB7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2673" y="2830513"/>
              <a:ext cx="1385887" cy="1365250"/>
            </a:xfrm>
            <a:custGeom>
              <a:avLst/>
              <a:gdLst>
                <a:gd name="T0" fmla="*/ 445 w 4366"/>
                <a:gd name="T1" fmla="*/ 349 h 4301"/>
                <a:gd name="T2" fmla="*/ 806 w 4366"/>
                <a:gd name="T3" fmla="*/ 352 h 4301"/>
                <a:gd name="T4" fmla="*/ 1258 w 4366"/>
                <a:gd name="T5" fmla="*/ 589 h 4301"/>
                <a:gd name="T6" fmla="*/ 1177 w 4366"/>
                <a:gd name="T7" fmla="*/ 991 h 4301"/>
                <a:gd name="T8" fmla="*/ 1499 w 4366"/>
                <a:gd name="T9" fmla="*/ 1382 h 4301"/>
                <a:gd name="T10" fmla="*/ 1534 w 4366"/>
                <a:gd name="T11" fmla="*/ 940 h 4301"/>
                <a:gd name="T12" fmla="*/ 1832 w 4366"/>
                <a:gd name="T13" fmla="*/ 623 h 4301"/>
                <a:gd name="T14" fmla="*/ 1745 w 4366"/>
                <a:gd name="T15" fmla="*/ 257 h 4301"/>
                <a:gd name="T16" fmla="*/ 1604 w 4366"/>
                <a:gd name="T17" fmla="*/ 7 h 4301"/>
                <a:gd name="T18" fmla="*/ 1952 w 4366"/>
                <a:gd name="T19" fmla="*/ 4 h 4301"/>
                <a:gd name="T20" fmla="*/ 2203 w 4366"/>
                <a:gd name="T21" fmla="*/ 314 h 4301"/>
                <a:gd name="T22" fmla="*/ 2513 w 4366"/>
                <a:gd name="T23" fmla="*/ 400 h 4301"/>
                <a:gd name="T24" fmla="*/ 2805 w 4366"/>
                <a:gd name="T25" fmla="*/ 375 h 4301"/>
                <a:gd name="T26" fmla="*/ 3130 w 4366"/>
                <a:gd name="T27" fmla="*/ 531 h 4301"/>
                <a:gd name="T28" fmla="*/ 3026 w 4366"/>
                <a:gd name="T29" fmla="*/ 738 h 4301"/>
                <a:gd name="T30" fmla="*/ 2939 w 4366"/>
                <a:gd name="T31" fmla="*/ 1134 h 4301"/>
                <a:gd name="T32" fmla="*/ 3247 w 4366"/>
                <a:gd name="T33" fmla="*/ 1139 h 4301"/>
                <a:gd name="T34" fmla="*/ 3458 w 4366"/>
                <a:gd name="T35" fmla="*/ 1035 h 4301"/>
                <a:gd name="T36" fmla="*/ 3702 w 4366"/>
                <a:gd name="T37" fmla="*/ 903 h 4301"/>
                <a:gd name="T38" fmla="*/ 3891 w 4366"/>
                <a:gd name="T39" fmla="*/ 1184 h 4301"/>
                <a:gd name="T40" fmla="*/ 3977 w 4366"/>
                <a:gd name="T41" fmla="*/ 1382 h 4301"/>
                <a:gd name="T42" fmla="*/ 3908 w 4366"/>
                <a:gd name="T43" fmla="*/ 1694 h 4301"/>
                <a:gd name="T44" fmla="*/ 4223 w 4366"/>
                <a:gd name="T45" fmla="*/ 1833 h 4301"/>
                <a:gd name="T46" fmla="*/ 4302 w 4366"/>
                <a:gd name="T47" fmla="*/ 2062 h 4301"/>
                <a:gd name="T48" fmla="*/ 4323 w 4366"/>
                <a:gd name="T49" fmla="*/ 2371 h 4301"/>
                <a:gd name="T50" fmla="*/ 4236 w 4366"/>
                <a:gd name="T51" fmla="*/ 2668 h 4301"/>
                <a:gd name="T52" fmla="*/ 4333 w 4366"/>
                <a:gd name="T53" fmla="*/ 2902 h 4301"/>
                <a:gd name="T54" fmla="*/ 4107 w 4366"/>
                <a:gd name="T55" fmla="*/ 2965 h 4301"/>
                <a:gd name="T56" fmla="*/ 3804 w 4366"/>
                <a:gd name="T57" fmla="*/ 2965 h 4301"/>
                <a:gd name="T58" fmla="*/ 3718 w 4366"/>
                <a:gd name="T59" fmla="*/ 3162 h 4301"/>
                <a:gd name="T60" fmla="*/ 3738 w 4366"/>
                <a:gd name="T61" fmla="*/ 3520 h 4301"/>
                <a:gd name="T62" fmla="*/ 3718 w 4366"/>
                <a:gd name="T63" fmla="*/ 3707 h 4301"/>
                <a:gd name="T64" fmla="*/ 3718 w 4366"/>
                <a:gd name="T65" fmla="*/ 3856 h 4301"/>
                <a:gd name="T66" fmla="*/ 3718 w 4366"/>
                <a:gd name="T67" fmla="*/ 4054 h 4301"/>
                <a:gd name="T68" fmla="*/ 3718 w 4366"/>
                <a:gd name="T69" fmla="*/ 4301 h 4301"/>
                <a:gd name="T70" fmla="*/ 3501 w 4366"/>
                <a:gd name="T71" fmla="*/ 4153 h 4301"/>
                <a:gd name="T72" fmla="*/ 3328 w 4366"/>
                <a:gd name="T73" fmla="*/ 3856 h 4301"/>
                <a:gd name="T74" fmla="*/ 2945 w 4366"/>
                <a:gd name="T75" fmla="*/ 3563 h 4301"/>
                <a:gd name="T76" fmla="*/ 2611 w 4366"/>
                <a:gd name="T77" fmla="*/ 3360 h 4301"/>
                <a:gd name="T78" fmla="*/ 2336 w 4366"/>
                <a:gd name="T79" fmla="*/ 3257 h 4301"/>
                <a:gd name="T80" fmla="*/ 2016 w 4366"/>
                <a:gd name="T81" fmla="*/ 3089 h 4301"/>
                <a:gd name="T82" fmla="*/ 1775 w 4366"/>
                <a:gd name="T83" fmla="*/ 3011 h 4301"/>
                <a:gd name="T84" fmla="*/ 1474 w 4366"/>
                <a:gd name="T85" fmla="*/ 2863 h 4301"/>
                <a:gd name="T86" fmla="*/ 1301 w 4366"/>
                <a:gd name="T87" fmla="*/ 2767 h 4301"/>
                <a:gd name="T88" fmla="*/ 1130 w 4366"/>
                <a:gd name="T89" fmla="*/ 2516 h 4301"/>
                <a:gd name="T90" fmla="*/ 905 w 4366"/>
                <a:gd name="T91" fmla="*/ 2111 h 4301"/>
                <a:gd name="T92" fmla="*/ 695 w 4366"/>
                <a:gd name="T93" fmla="*/ 1874 h 4301"/>
                <a:gd name="T94" fmla="*/ 302 w 4366"/>
                <a:gd name="T95" fmla="*/ 1678 h 4301"/>
                <a:gd name="T96" fmla="*/ 52 w 4366"/>
                <a:gd name="T97" fmla="*/ 1579 h 4301"/>
                <a:gd name="T98" fmla="*/ 0 w 4366"/>
                <a:gd name="T99" fmla="*/ 1283 h 4301"/>
                <a:gd name="T100" fmla="*/ 173 w 4366"/>
                <a:gd name="T101" fmla="*/ 937 h 4301"/>
                <a:gd name="T102" fmla="*/ 173 w 4366"/>
                <a:gd name="T103" fmla="*/ 472 h 4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66" h="4301">
                  <a:moveTo>
                    <a:pt x="190" y="382"/>
                  </a:moveTo>
                  <a:lnTo>
                    <a:pt x="320" y="397"/>
                  </a:lnTo>
                  <a:lnTo>
                    <a:pt x="356" y="353"/>
                  </a:lnTo>
                  <a:lnTo>
                    <a:pt x="445" y="349"/>
                  </a:lnTo>
                  <a:lnTo>
                    <a:pt x="536" y="398"/>
                  </a:lnTo>
                  <a:lnTo>
                    <a:pt x="628" y="354"/>
                  </a:lnTo>
                  <a:lnTo>
                    <a:pt x="717" y="340"/>
                  </a:lnTo>
                  <a:lnTo>
                    <a:pt x="806" y="352"/>
                  </a:lnTo>
                  <a:lnTo>
                    <a:pt x="862" y="493"/>
                  </a:lnTo>
                  <a:lnTo>
                    <a:pt x="974" y="596"/>
                  </a:lnTo>
                  <a:lnTo>
                    <a:pt x="1158" y="575"/>
                  </a:lnTo>
                  <a:lnTo>
                    <a:pt x="1258" y="589"/>
                  </a:lnTo>
                  <a:lnTo>
                    <a:pt x="1271" y="745"/>
                  </a:lnTo>
                  <a:lnTo>
                    <a:pt x="1267" y="847"/>
                  </a:lnTo>
                  <a:lnTo>
                    <a:pt x="1222" y="896"/>
                  </a:lnTo>
                  <a:lnTo>
                    <a:pt x="1177" y="991"/>
                  </a:lnTo>
                  <a:lnTo>
                    <a:pt x="1178" y="1189"/>
                  </a:lnTo>
                  <a:lnTo>
                    <a:pt x="1219" y="1285"/>
                  </a:lnTo>
                  <a:lnTo>
                    <a:pt x="1312" y="1361"/>
                  </a:lnTo>
                  <a:lnTo>
                    <a:pt x="1499" y="1382"/>
                  </a:lnTo>
                  <a:lnTo>
                    <a:pt x="1613" y="1288"/>
                  </a:lnTo>
                  <a:lnTo>
                    <a:pt x="1622" y="1226"/>
                  </a:lnTo>
                  <a:lnTo>
                    <a:pt x="1532" y="1084"/>
                  </a:lnTo>
                  <a:lnTo>
                    <a:pt x="1534" y="940"/>
                  </a:lnTo>
                  <a:lnTo>
                    <a:pt x="1567" y="803"/>
                  </a:lnTo>
                  <a:lnTo>
                    <a:pt x="1652" y="708"/>
                  </a:lnTo>
                  <a:lnTo>
                    <a:pt x="1784" y="697"/>
                  </a:lnTo>
                  <a:lnTo>
                    <a:pt x="1832" y="623"/>
                  </a:lnTo>
                  <a:lnTo>
                    <a:pt x="1750" y="550"/>
                  </a:lnTo>
                  <a:lnTo>
                    <a:pt x="1726" y="454"/>
                  </a:lnTo>
                  <a:lnTo>
                    <a:pt x="1781" y="350"/>
                  </a:lnTo>
                  <a:lnTo>
                    <a:pt x="1745" y="257"/>
                  </a:lnTo>
                  <a:lnTo>
                    <a:pt x="1651" y="197"/>
                  </a:lnTo>
                  <a:lnTo>
                    <a:pt x="1549" y="158"/>
                  </a:lnTo>
                  <a:lnTo>
                    <a:pt x="1568" y="53"/>
                  </a:lnTo>
                  <a:lnTo>
                    <a:pt x="1604" y="7"/>
                  </a:lnTo>
                  <a:lnTo>
                    <a:pt x="1705" y="8"/>
                  </a:lnTo>
                  <a:lnTo>
                    <a:pt x="1791" y="0"/>
                  </a:lnTo>
                  <a:lnTo>
                    <a:pt x="1877" y="7"/>
                  </a:lnTo>
                  <a:lnTo>
                    <a:pt x="1952" y="4"/>
                  </a:lnTo>
                  <a:lnTo>
                    <a:pt x="1988" y="15"/>
                  </a:lnTo>
                  <a:lnTo>
                    <a:pt x="2045" y="52"/>
                  </a:lnTo>
                  <a:lnTo>
                    <a:pt x="2173" y="202"/>
                  </a:lnTo>
                  <a:lnTo>
                    <a:pt x="2203" y="314"/>
                  </a:lnTo>
                  <a:lnTo>
                    <a:pt x="2264" y="356"/>
                  </a:lnTo>
                  <a:lnTo>
                    <a:pt x="2342" y="457"/>
                  </a:lnTo>
                  <a:lnTo>
                    <a:pt x="2386" y="450"/>
                  </a:lnTo>
                  <a:lnTo>
                    <a:pt x="2513" y="400"/>
                  </a:lnTo>
                  <a:lnTo>
                    <a:pt x="2598" y="400"/>
                  </a:lnTo>
                  <a:lnTo>
                    <a:pt x="2673" y="359"/>
                  </a:lnTo>
                  <a:lnTo>
                    <a:pt x="2748" y="361"/>
                  </a:lnTo>
                  <a:lnTo>
                    <a:pt x="2805" y="375"/>
                  </a:lnTo>
                  <a:lnTo>
                    <a:pt x="2886" y="382"/>
                  </a:lnTo>
                  <a:lnTo>
                    <a:pt x="2952" y="410"/>
                  </a:lnTo>
                  <a:lnTo>
                    <a:pt x="3002" y="483"/>
                  </a:lnTo>
                  <a:lnTo>
                    <a:pt x="3130" y="531"/>
                  </a:lnTo>
                  <a:lnTo>
                    <a:pt x="3069" y="589"/>
                  </a:lnTo>
                  <a:lnTo>
                    <a:pt x="3069" y="639"/>
                  </a:lnTo>
                  <a:lnTo>
                    <a:pt x="3026" y="688"/>
                  </a:lnTo>
                  <a:lnTo>
                    <a:pt x="3026" y="738"/>
                  </a:lnTo>
                  <a:lnTo>
                    <a:pt x="3026" y="837"/>
                  </a:lnTo>
                  <a:lnTo>
                    <a:pt x="2983" y="936"/>
                  </a:lnTo>
                  <a:lnTo>
                    <a:pt x="2939" y="1035"/>
                  </a:lnTo>
                  <a:lnTo>
                    <a:pt x="2939" y="1134"/>
                  </a:lnTo>
                  <a:lnTo>
                    <a:pt x="3005" y="1201"/>
                  </a:lnTo>
                  <a:lnTo>
                    <a:pt x="3112" y="1233"/>
                  </a:lnTo>
                  <a:lnTo>
                    <a:pt x="3199" y="1184"/>
                  </a:lnTo>
                  <a:lnTo>
                    <a:pt x="3247" y="1139"/>
                  </a:lnTo>
                  <a:lnTo>
                    <a:pt x="3290" y="1048"/>
                  </a:lnTo>
                  <a:lnTo>
                    <a:pt x="3350" y="972"/>
                  </a:lnTo>
                  <a:lnTo>
                    <a:pt x="3415" y="985"/>
                  </a:lnTo>
                  <a:lnTo>
                    <a:pt x="3458" y="1035"/>
                  </a:lnTo>
                  <a:lnTo>
                    <a:pt x="3544" y="1085"/>
                  </a:lnTo>
                  <a:lnTo>
                    <a:pt x="3593" y="1041"/>
                  </a:lnTo>
                  <a:lnTo>
                    <a:pt x="3653" y="951"/>
                  </a:lnTo>
                  <a:lnTo>
                    <a:pt x="3702" y="903"/>
                  </a:lnTo>
                  <a:lnTo>
                    <a:pt x="3781" y="937"/>
                  </a:lnTo>
                  <a:lnTo>
                    <a:pt x="3829" y="979"/>
                  </a:lnTo>
                  <a:lnTo>
                    <a:pt x="3878" y="1090"/>
                  </a:lnTo>
                  <a:lnTo>
                    <a:pt x="3891" y="1184"/>
                  </a:lnTo>
                  <a:lnTo>
                    <a:pt x="3934" y="1233"/>
                  </a:lnTo>
                  <a:lnTo>
                    <a:pt x="3977" y="1283"/>
                  </a:lnTo>
                  <a:lnTo>
                    <a:pt x="3934" y="1332"/>
                  </a:lnTo>
                  <a:lnTo>
                    <a:pt x="3977" y="1382"/>
                  </a:lnTo>
                  <a:lnTo>
                    <a:pt x="4017" y="1472"/>
                  </a:lnTo>
                  <a:lnTo>
                    <a:pt x="3969" y="1534"/>
                  </a:lnTo>
                  <a:lnTo>
                    <a:pt x="3926" y="1590"/>
                  </a:lnTo>
                  <a:lnTo>
                    <a:pt x="3908" y="1694"/>
                  </a:lnTo>
                  <a:lnTo>
                    <a:pt x="3981" y="1763"/>
                  </a:lnTo>
                  <a:lnTo>
                    <a:pt x="4048" y="1812"/>
                  </a:lnTo>
                  <a:lnTo>
                    <a:pt x="4145" y="1798"/>
                  </a:lnTo>
                  <a:lnTo>
                    <a:pt x="4223" y="1833"/>
                  </a:lnTo>
                  <a:lnTo>
                    <a:pt x="4290" y="1875"/>
                  </a:lnTo>
                  <a:lnTo>
                    <a:pt x="4302" y="1972"/>
                  </a:lnTo>
                  <a:lnTo>
                    <a:pt x="4280" y="2025"/>
                  </a:lnTo>
                  <a:lnTo>
                    <a:pt x="4302" y="2062"/>
                  </a:lnTo>
                  <a:lnTo>
                    <a:pt x="4302" y="2159"/>
                  </a:lnTo>
                  <a:lnTo>
                    <a:pt x="4302" y="2270"/>
                  </a:lnTo>
                  <a:lnTo>
                    <a:pt x="4280" y="2321"/>
                  </a:lnTo>
                  <a:lnTo>
                    <a:pt x="4323" y="2371"/>
                  </a:lnTo>
                  <a:lnTo>
                    <a:pt x="4321" y="2479"/>
                  </a:lnTo>
                  <a:lnTo>
                    <a:pt x="4236" y="2569"/>
                  </a:lnTo>
                  <a:lnTo>
                    <a:pt x="4236" y="2618"/>
                  </a:lnTo>
                  <a:lnTo>
                    <a:pt x="4236" y="2668"/>
                  </a:lnTo>
                  <a:lnTo>
                    <a:pt x="4280" y="2717"/>
                  </a:lnTo>
                  <a:lnTo>
                    <a:pt x="4333" y="2763"/>
                  </a:lnTo>
                  <a:lnTo>
                    <a:pt x="4366" y="2816"/>
                  </a:lnTo>
                  <a:lnTo>
                    <a:pt x="4333" y="2902"/>
                  </a:lnTo>
                  <a:lnTo>
                    <a:pt x="4280" y="2965"/>
                  </a:lnTo>
                  <a:lnTo>
                    <a:pt x="4236" y="3055"/>
                  </a:lnTo>
                  <a:lnTo>
                    <a:pt x="4151" y="3020"/>
                  </a:lnTo>
                  <a:lnTo>
                    <a:pt x="4107" y="2965"/>
                  </a:lnTo>
                  <a:lnTo>
                    <a:pt x="4020" y="2965"/>
                  </a:lnTo>
                  <a:lnTo>
                    <a:pt x="3934" y="2965"/>
                  </a:lnTo>
                  <a:lnTo>
                    <a:pt x="3848" y="2965"/>
                  </a:lnTo>
                  <a:lnTo>
                    <a:pt x="3804" y="2965"/>
                  </a:lnTo>
                  <a:lnTo>
                    <a:pt x="3761" y="3014"/>
                  </a:lnTo>
                  <a:lnTo>
                    <a:pt x="3720" y="3048"/>
                  </a:lnTo>
                  <a:lnTo>
                    <a:pt x="3718" y="3113"/>
                  </a:lnTo>
                  <a:lnTo>
                    <a:pt x="3718" y="3162"/>
                  </a:lnTo>
                  <a:lnTo>
                    <a:pt x="3718" y="3262"/>
                  </a:lnTo>
                  <a:lnTo>
                    <a:pt x="3718" y="3361"/>
                  </a:lnTo>
                  <a:lnTo>
                    <a:pt x="3718" y="3460"/>
                  </a:lnTo>
                  <a:lnTo>
                    <a:pt x="3738" y="3520"/>
                  </a:lnTo>
                  <a:lnTo>
                    <a:pt x="3718" y="3559"/>
                  </a:lnTo>
                  <a:lnTo>
                    <a:pt x="3718" y="3608"/>
                  </a:lnTo>
                  <a:lnTo>
                    <a:pt x="3718" y="3658"/>
                  </a:lnTo>
                  <a:lnTo>
                    <a:pt x="3718" y="3707"/>
                  </a:lnTo>
                  <a:lnTo>
                    <a:pt x="3761" y="3757"/>
                  </a:lnTo>
                  <a:lnTo>
                    <a:pt x="3718" y="3806"/>
                  </a:lnTo>
                  <a:lnTo>
                    <a:pt x="3718" y="3856"/>
                  </a:lnTo>
                  <a:lnTo>
                    <a:pt x="3718" y="3856"/>
                  </a:lnTo>
                  <a:lnTo>
                    <a:pt x="3718" y="3905"/>
                  </a:lnTo>
                  <a:lnTo>
                    <a:pt x="3718" y="3955"/>
                  </a:lnTo>
                  <a:lnTo>
                    <a:pt x="3718" y="4004"/>
                  </a:lnTo>
                  <a:lnTo>
                    <a:pt x="3718" y="4054"/>
                  </a:lnTo>
                  <a:lnTo>
                    <a:pt x="3718" y="4103"/>
                  </a:lnTo>
                  <a:lnTo>
                    <a:pt x="3761" y="4153"/>
                  </a:lnTo>
                  <a:lnTo>
                    <a:pt x="3761" y="4252"/>
                  </a:lnTo>
                  <a:lnTo>
                    <a:pt x="3718" y="4301"/>
                  </a:lnTo>
                  <a:lnTo>
                    <a:pt x="3675" y="4301"/>
                  </a:lnTo>
                  <a:lnTo>
                    <a:pt x="3588" y="4301"/>
                  </a:lnTo>
                  <a:lnTo>
                    <a:pt x="3544" y="4202"/>
                  </a:lnTo>
                  <a:lnTo>
                    <a:pt x="3501" y="4153"/>
                  </a:lnTo>
                  <a:lnTo>
                    <a:pt x="3458" y="4054"/>
                  </a:lnTo>
                  <a:lnTo>
                    <a:pt x="3415" y="4054"/>
                  </a:lnTo>
                  <a:lnTo>
                    <a:pt x="3372" y="3955"/>
                  </a:lnTo>
                  <a:lnTo>
                    <a:pt x="3328" y="3856"/>
                  </a:lnTo>
                  <a:lnTo>
                    <a:pt x="3242" y="3757"/>
                  </a:lnTo>
                  <a:lnTo>
                    <a:pt x="3168" y="3680"/>
                  </a:lnTo>
                  <a:lnTo>
                    <a:pt x="3069" y="3608"/>
                  </a:lnTo>
                  <a:lnTo>
                    <a:pt x="2945" y="3563"/>
                  </a:lnTo>
                  <a:lnTo>
                    <a:pt x="2845" y="3551"/>
                  </a:lnTo>
                  <a:lnTo>
                    <a:pt x="2768" y="3556"/>
                  </a:lnTo>
                  <a:lnTo>
                    <a:pt x="2681" y="3449"/>
                  </a:lnTo>
                  <a:lnTo>
                    <a:pt x="2611" y="3360"/>
                  </a:lnTo>
                  <a:lnTo>
                    <a:pt x="2543" y="3299"/>
                  </a:lnTo>
                  <a:lnTo>
                    <a:pt x="2465" y="3308"/>
                  </a:lnTo>
                  <a:lnTo>
                    <a:pt x="2375" y="3307"/>
                  </a:lnTo>
                  <a:lnTo>
                    <a:pt x="2336" y="3257"/>
                  </a:lnTo>
                  <a:lnTo>
                    <a:pt x="2249" y="3259"/>
                  </a:lnTo>
                  <a:lnTo>
                    <a:pt x="2161" y="3162"/>
                  </a:lnTo>
                  <a:lnTo>
                    <a:pt x="2089" y="3110"/>
                  </a:lnTo>
                  <a:lnTo>
                    <a:pt x="2016" y="3089"/>
                  </a:lnTo>
                  <a:lnTo>
                    <a:pt x="1948" y="3079"/>
                  </a:lnTo>
                  <a:lnTo>
                    <a:pt x="1879" y="3082"/>
                  </a:lnTo>
                  <a:lnTo>
                    <a:pt x="1817" y="3061"/>
                  </a:lnTo>
                  <a:lnTo>
                    <a:pt x="1775" y="3011"/>
                  </a:lnTo>
                  <a:lnTo>
                    <a:pt x="1729" y="2915"/>
                  </a:lnTo>
                  <a:lnTo>
                    <a:pt x="1681" y="2857"/>
                  </a:lnTo>
                  <a:lnTo>
                    <a:pt x="1594" y="2864"/>
                  </a:lnTo>
                  <a:lnTo>
                    <a:pt x="1474" y="2863"/>
                  </a:lnTo>
                  <a:lnTo>
                    <a:pt x="1385" y="2861"/>
                  </a:lnTo>
                  <a:lnTo>
                    <a:pt x="1383" y="2816"/>
                  </a:lnTo>
                  <a:lnTo>
                    <a:pt x="1342" y="2812"/>
                  </a:lnTo>
                  <a:lnTo>
                    <a:pt x="1301" y="2767"/>
                  </a:lnTo>
                  <a:lnTo>
                    <a:pt x="1261" y="2720"/>
                  </a:lnTo>
                  <a:lnTo>
                    <a:pt x="1216" y="2669"/>
                  </a:lnTo>
                  <a:lnTo>
                    <a:pt x="1171" y="2597"/>
                  </a:lnTo>
                  <a:lnTo>
                    <a:pt x="1130" y="2516"/>
                  </a:lnTo>
                  <a:lnTo>
                    <a:pt x="1040" y="2371"/>
                  </a:lnTo>
                  <a:lnTo>
                    <a:pt x="998" y="2269"/>
                  </a:lnTo>
                  <a:lnTo>
                    <a:pt x="961" y="2180"/>
                  </a:lnTo>
                  <a:lnTo>
                    <a:pt x="905" y="2111"/>
                  </a:lnTo>
                  <a:lnTo>
                    <a:pt x="874" y="2032"/>
                  </a:lnTo>
                  <a:lnTo>
                    <a:pt x="808" y="1922"/>
                  </a:lnTo>
                  <a:lnTo>
                    <a:pt x="745" y="1873"/>
                  </a:lnTo>
                  <a:lnTo>
                    <a:pt x="695" y="1874"/>
                  </a:lnTo>
                  <a:lnTo>
                    <a:pt x="598" y="1813"/>
                  </a:lnTo>
                  <a:lnTo>
                    <a:pt x="481" y="1714"/>
                  </a:lnTo>
                  <a:lnTo>
                    <a:pt x="373" y="1694"/>
                  </a:lnTo>
                  <a:lnTo>
                    <a:pt x="302" y="1678"/>
                  </a:lnTo>
                  <a:lnTo>
                    <a:pt x="223" y="1643"/>
                  </a:lnTo>
                  <a:lnTo>
                    <a:pt x="152" y="1628"/>
                  </a:lnTo>
                  <a:lnTo>
                    <a:pt x="73" y="1622"/>
                  </a:lnTo>
                  <a:lnTo>
                    <a:pt x="52" y="1579"/>
                  </a:lnTo>
                  <a:lnTo>
                    <a:pt x="86" y="1530"/>
                  </a:lnTo>
                  <a:lnTo>
                    <a:pt x="0" y="1481"/>
                  </a:lnTo>
                  <a:lnTo>
                    <a:pt x="0" y="1332"/>
                  </a:lnTo>
                  <a:lnTo>
                    <a:pt x="0" y="1283"/>
                  </a:lnTo>
                  <a:lnTo>
                    <a:pt x="86" y="1233"/>
                  </a:lnTo>
                  <a:lnTo>
                    <a:pt x="149" y="1159"/>
                  </a:lnTo>
                  <a:lnTo>
                    <a:pt x="176" y="1036"/>
                  </a:lnTo>
                  <a:lnTo>
                    <a:pt x="173" y="937"/>
                  </a:lnTo>
                  <a:lnTo>
                    <a:pt x="167" y="826"/>
                  </a:lnTo>
                  <a:lnTo>
                    <a:pt x="161" y="701"/>
                  </a:lnTo>
                  <a:lnTo>
                    <a:pt x="173" y="589"/>
                  </a:lnTo>
                  <a:lnTo>
                    <a:pt x="173" y="472"/>
                  </a:lnTo>
                  <a:lnTo>
                    <a:pt x="190" y="382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69" name="Freeform 63">
              <a:extLst>
                <a:ext uri="{FF2B5EF4-FFF2-40B4-BE49-F238E27FC236}">
                  <a16:creationId xmlns:a16="http://schemas.microsoft.com/office/drawing/2014/main" id="{A2908271-2A36-AE37-FAC4-2AE8994D6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4536" y="2776538"/>
              <a:ext cx="1023937" cy="1062037"/>
            </a:xfrm>
            <a:custGeom>
              <a:avLst/>
              <a:gdLst>
                <a:gd name="T0" fmla="*/ 938 w 3224"/>
                <a:gd name="T1" fmla="*/ 1258 h 3346"/>
                <a:gd name="T2" fmla="*/ 841 w 3224"/>
                <a:gd name="T3" fmla="*/ 1104 h 3346"/>
                <a:gd name="T4" fmla="*/ 716 w 3224"/>
                <a:gd name="T5" fmla="*/ 1123 h 3346"/>
                <a:gd name="T6" fmla="*/ 605 w 3224"/>
                <a:gd name="T7" fmla="*/ 1253 h 3346"/>
                <a:gd name="T8" fmla="*/ 475 w 3224"/>
                <a:gd name="T9" fmla="*/ 1154 h 3346"/>
                <a:gd name="T10" fmla="*/ 353 w 3224"/>
                <a:gd name="T11" fmla="*/ 1219 h 3346"/>
                <a:gd name="T12" fmla="*/ 259 w 3224"/>
                <a:gd name="T13" fmla="*/ 1352 h 3346"/>
                <a:gd name="T14" fmla="*/ 63 w 3224"/>
                <a:gd name="T15" fmla="*/ 1367 h 3346"/>
                <a:gd name="T16" fmla="*/ 2 w 3224"/>
                <a:gd name="T17" fmla="*/ 1203 h 3346"/>
                <a:gd name="T18" fmla="*/ 89 w 3224"/>
                <a:gd name="T19" fmla="*/ 861 h 3346"/>
                <a:gd name="T20" fmla="*/ 133 w 3224"/>
                <a:gd name="T21" fmla="*/ 760 h 3346"/>
                <a:gd name="T22" fmla="*/ 307 w 3224"/>
                <a:gd name="T23" fmla="*/ 658 h 3346"/>
                <a:gd name="T24" fmla="*/ 496 w 3224"/>
                <a:gd name="T25" fmla="*/ 606 h 3346"/>
                <a:gd name="T26" fmla="*/ 626 w 3224"/>
                <a:gd name="T27" fmla="*/ 454 h 3346"/>
                <a:gd name="T28" fmla="*/ 811 w 3224"/>
                <a:gd name="T29" fmla="*/ 264 h 3346"/>
                <a:gd name="T30" fmla="*/ 952 w 3224"/>
                <a:gd name="T31" fmla="*/ 235 h 3346"/>
                <a:gd name="T32" fmla="*/ 1159 w 3224"/>
                <a:gd name="T33" fmla="*/ 261 h 3346"/>
                <a:gd name="T34" fmla="*/ 1341 w 3224"/>
                <a:gd name="T35" fmla="*/ 136 h 3346"/>
                <a:gd name="T36" fmla="*/ 1569 w 3224"/>
                <a:gd name="T37" fmla="*/ 73 h 3346"/>
                <a:gd name="T38" fmla="*/ 1705 w 3224"/>
                <a:gd name="T39" fmla="*/ 292 h 3346"/>
                <a:gd name="T40" fmla="*/ 1903 w 3224"/>
                <a:gd name="T41" fmla="*/ 186 h 3346"/>
                <a:gd name="T42" fmla="*/ 2033 w 3224"/>
                <a:gd name="T43" fmla="*/ 37 h 3346"/>
                <a:gd name="T44" fmla="*/ 2251 w 3224"/>
                <a:gd name="T45" fmla="*/ 42 h 3346"/>
                <a:gd name="T46" fmla="*/ 2465 w 3224"/>
                <a:gd name="T47" fmla="*/ 37 h 3346"/>
                <a:gd name="T48" fmla="*/ 2594 w 3224"/>
                <a:gd name="T49" fmla="*/ 186 h 3346"/>
                <a:gd name="T50" fmla="*/ 2768 w 3224"/>
                <a:gd name="T51" fmla="*/ 334 h 3346"/>
                <a:gd name="T52" fmla="*/ 2854 w 3224"/>
                <a:gd name="T53" fmla="*/ 433 h 3346"/>
                <a:gd name="T54" fmla="*/ 2951 w 3224"/>
                <a:gd name="T55" fmla="*/ 636 h 3346"/>
                <a:gd name="T56" fmla="*/ 2941 w 3224"/>
                <a:gd name="T57" fmla="*/ 830 h 3346"/>
                <a:gd name="T58" fmla="*/ 2941 w 3224"/>
                <a:gd name="T59" fmla="*/ 1078 h 3346"/>
                <a:gd name="T60" fmla="*/ 2984 w 3224"/>
                <a:gd name="T61" fmla="*/ 1227 h 3346"/>
                <a:gd name="T62" fmla="*/ 3124 w 3224"/>
                <a:gd name="T63" fmla="*/ 1293 h 3346"/>
                <a:gd name="T64" fmla="*/ 3224 w 3224"/>
                <a:gd name="T65" fmla="*/ 1480 h 3346"/>
                <a:gd name="T66" fmla="*/ 3115 w 3224"/>
                <a:gd name="T67" fmla="*/ 1678 h 3346"/>
                <a:gd name="T68" fmla="*/ 3157 w 3224"/>
                <a:gd name="T69" fmla="*/ 1969 h 3346"/>
                <a:gd name="T70" fmla="*/ 3069 w 3224"/>
                <a:gd name="T71" fmla="*/ 2262 h 3346"/>
                <a:gd name="T72" fmla="*/ 3033 w 3224"/>
                <a:gd name="T73" fmla="*/ 2585 h 3346"/>
                <a:gd name="T74" fmla="*/ 3069 w 3224"/>
                <a:gd name="T75" fmla="*/ 2835 h 3346"/>
                <a:gd name="T76" fmla="*/ 3133 w 3224"/>
                <a:gd name="T77" fmla="*/ 3096 h 3346"/>
                <a:gd name="T78" fmla="*/ 3027 w 3224"/>
                <a:gd name="T79" fmla="*/ 3257 h 3346"/>
                <a:gd name="T80" fmla="*/ 2842 w 3224"/>
                <a:gd name="T81" fmla="*/ 3346 h 3346"/>
                <a:gd name="T82" fmla="*/ 2687 w 3224"/>
                <a:gd name="T83" fmla="*/ 3231 h 3346"/>
                <a:gd name="T84" fmla="*/ 2596 w 3224"/>
                <a:gd name="T85" fmla="*/ 3169 h 3346"/>
                <a:gd name="T86" fmla="*/ 2433 w 3224"/>
                <a:gd name="T87" fmla="*/ 3263 h 3346"/>
                <a:gd name="T88" fmla="*/ 2251 w 3224"/>
                <a:gd name="T89" fmla="*/ 3169 h 3346"/>
                <a:gd name="T90" fmla="*/ 2205 w 3224"/>
                <a:gd name="T91" fmla="*/ 2960 h 3346"/>
                <a:gd name="T92" fmla="*/ 1989 w 3224"/>
                <a:gd name="T93" fmla="*/ 3059 h 3346"/>
                <a:gd name="T94" fmla="*/ 1860 w 3224"/>
                <a:gd name="T95" fmla="*/ 3059 h 3346"/>
                <a:gd name="T96" fmla="*/ 1557 w 3224"/>
                <a:gd name="T97" fmla="*/ 3010 h 3346"/>
                <a:gd name="T98" fmla="*/ 1395 w 3224"/>
                <a:gd name="T99" fmla="*/ 3067 h 3346"/>
                <a:gd name="T100" fmla="*/ 1396 w 3224"/>
                <a:gd name="T101" fmla="*/ 2936 h 3346"/>
                <a:gd name="T102" fmla="*/ 1296 w 3224"/>
                <a:gd name="T103" fmla="*/ 2834 h 3346"/>
                <a:gd name="T104" fmla="*/ 1381 w 3224"/>
                <a:gd name="T105" fmla="*/ 2647 h 3346"/>
                <a:gd name="T106" fmla="*/ 1339 w 3224"/>
                <a:gd name="T107" fmla="*/ 2489 h 3346"/>
                <a:gd name="T108" fmla="*/ 1362 w 3224"/>
                <a:gd name="T109" fmla="*/ 2230 h 3346"/>
                <a:gd name="T110" fmla="*/ 1362 w 3224"/>
                <a:gd name="T111" fmla="*/ 2139 h 3346"/>
                <a:gd name="T112" fmla="*/ 1286 w 3224"/>
                <a:gd name="T113" fmla="*/ 2001 h 3346"/>
                <a:gd name="T114" fmla="*/ 1106 w 3224"/>
                <a:gd name="T115" fmla="*/ 1980 h 3346"/>
                <a:gd name="T116" fmla="*/ 968 w 3224"/>
                <a:gd name="T117" fmla="*/ 1862 h 3346"/>
                <a:gd name="T118" fmla="*/ 1077 w 3224"/>
                <a:gd name="T119" fmla="*/ 1639 h 3346"/>
                <a:gd name="T120" fmla="*/ 996 w 3224"/>
                <a:gd name="T121" fmla="*/ 1500 h 3346"/>
                <a:gd name="T122" fmla="*/ 955 w 3224"/>
                <a:gd name="T123" fmla="*/ 1351 h 3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24" h="3346">
                  <a:moveTo>
                    <a:pt x="955" y="1351"/>
                  </a:moveTo>
                  <a:lnTo>
                    <a:pt x="938" y="1258"/>
                  </a:lnTo>
                  <a:lnTo>
                    <a:pt x="891" y="1147"/>
                  </a:lnTo>
                  <a:lnTo>
                    <a:pt x="841" y="1104"/>
                  </a:lnTo>
                  <a:lnTo>
                    <a:pt x="764" y="1071"/>
                  </a:lnTo>
                  <a:lnTo>
                    <a:pt x="716" y="1123"/>
                  </a:lnTo>
                  <a:lnTo>
                    <a:pt x="659" y="1210"/>
                  </a:lnTo>
                  <a:lnTo>
                    <a:pt x="605" y="1253"/>
                  </a:lnTo>
                  <a:lnTo>
                    <a:pt x="517" y="1204"/>
                  </a:lnTo>
                  <a:lnTo>
                    <a:pt x="475" y="1154"/>
                  </a:lnTo>
                  <a:lnTo>
                    <a:pt x="411" y="1141"/>
                  </a:lnTo>
                  <a:lnTo>
                    <a:pt x="353" y="1219"/>
                  </a:lnTo>
                  <a:lnTo>
                    <a:pt x="313" y="1309"/>
                  </a:lnTo>
                  <a:lnTo>
                    <a:pt x="259" y="1352"/>
                  </a:lnTo>
                  <a:lnTo>
                    <a:pt x="179" y="1402"/>
                  </a:lnTo>
                  <a:lnTo>
                    <a:pt x="63" y="1367"/>
                  </a:lnTo>
                  <a:lnTo>
                    <a:pt x="0" y="1302"/>
                  </a:lnTo>
                  <a:lnTo>
                    <a:pt x="2" y="1203"/>
                  </a:lnTo>
                  <a:lnTo>
                    <a:pt x="89" y="1011"/>
                  </a:lnTo>
                  <a:lnTo>
                    <a:pt x="89" y="861"/>
                  </a:lnTo>
                  <a:lnTo>
                    <a:pt x="133" y="810"/>
                  </a:lnTo>
                  <a:lnTo>
                    <a:pt x="133" y="760"/>
                  </a:lnTo>
                  <a:lnTo>
                    <a:pt x="190" y="700"/>
                  </a:lnTo>
                  <a:lnTo>
                    <a:pt x="307" y="658"/>
                  </a:lnTo>
                  <a:lnTo>
                    <a:pt x="416" y="651"/>
                  </a:lnTo>
                  <a:lnTo>
                    <a:pt x="496" y="606"/>
                  </a:lnTo>
                  <a:lnTo>
                    <a:pt x="538" y="534"/>
                  </a:lnTo>
                  <a:lnTo>
                    <a:pt x="626" y="454"/>
                  </a:lnTo>
                  <a:lnTo>
                    <a:pt x="715" y="351"/>
                  </a:lnTo>
                  <a:lnTo>
                    <a:pt x="811" y="264"/>
                  </a:lnTo>
                  <a:lnTo>
                    <a:pt x="904" y="217"/>
                  </a:lnTo>
                  <a:lnTo>
                    <a:pt x="952" y="235"/>
                  </a:lnTo>
                  <a:lnTo>
                    <a:pt x="1081" y="334"/>
                  </a:lnTo>
                  <a:lnTo>
                    <a:pt x="1159" y="261"/>
                  </a:lnTo>
                  <a:lnTo>
                    <a:pt x="1250" y="208"/>
                  </a:lnTo>
                  <a:lnTo>
                    <a:pt x="1341" y="136"/>
                  </a:lnTo>
                  <a:lnTo>
                    <a:pt x="1441" y="156"/>
                  </a:lnTo>
                  <a:lnTo>
                    <a:pt x="1569" y="73"/>
                  </a:lnTo>
                  <a:lnTo>
                    <a:pt x="1643" y="186"/>
                  </a:lnTo>
                  <a:lnTo>
                    <a:pt x="1705" y="292"/>
                  </a:lnTo>
                  <a:lnTo>
                    <a:pt x="1817" y="285"/>
                  </a:lnTo>
                  <a:lnTo>
                    <a:pt x="1903" y="186"/>
                  </a:lnTo>
                  <a:lnTo>
                    <a:pt x="1989" y="136"/>
                  </a:lnTo>
                  <a:lnTo>
                    <a:pt x="2033" y="37"/>
                  </a:lnTo>
                  <a:lnTo>
                    <a:pt x="2162" y="87"/>
                  </a:lnTo>
                  <a:lnTo>
                    <a:pt x="2251" y="42"/>
                  </a:lnTo>
                  <a:lnTo>
                    <a:pt x="2342" y="0"/>
                  </a:lnTo>
                  <a:lnTo>
                    <a:pt x="2465" y="37"/>
                  </a:lnTo>
                  <a:lnTo>
                    <a:pt x="2551" y="87"/>
                  </a:lnTo>
                  <a:lnTo>
                    <a:pt x="2594" y="186"/>
                  </a:lnTo>
                  <a:lnTo>
                    <a:pt x="2637" y="285"/>
                  </a:lnTo>
                  <a:lnTo>
                    <a:pt x="2768" y="334"/>
                  </a:lnTo>
                  <a:lnTo>
                    <a:pt x="2811" y="384"/>
                  </a:lnTo>
                  <a:lnTo>
                    <a:pt x="2854" y="433"/>
                  </a:lnTo>
                  <a:lnTo>
                    <a:pt x="2933" y="542"/>
                  </a:lnTo>
                  <a:lnTo>
                    <a:pt x="2951" y="636"/>
                  </a:lnTo>
                  <a:lnTo>
                    <a:pt x="2941" y="780"/>
                  </a:lnTo>
                  <a:lnTo>
                    <a:pt x="2941" y="830"/>
                  </a:lnTo>
                  <a:lnTo>
                    <a:pt x="2941" y="929"/>
                  </a:lnTo>
                  <a:lnTo>
                    <a:pt x="2941" y="1078"/>
                  </a:lnTo>
                  <a:lnTo>
                    <a:pt x="2941" y="1127"/>
                  </a:lnTo>
                  <a:lnTo>
                    <a:pt x="2984" y="1227"/>
                  </a:lnTo>
                  <a:lnTo>
                    <a:pt x="3027" y="1276"/>
                  </a:lnTo>
                  <a:lnTo>
                    <a:pt x="3124" y="1293"/>
                  </a:lnTo>
                  <a:lnTo>
                    <a:pt x="3200" y="1375"/>
                  </a:lnTo>
                  <a:lnTo>
                    <a:pt x="3224" y="1480"/>
                  </a:lnTo>
                  <a:lnTo>
                    <a:pt x="3197" y="1584"/>
                  </a:lnTo>
                  <a:lnTo>
                    <a:pt x="3115" y="1678"/>
                  </a:lnTo>
                  <a:lnTo>
                    <a:pt x="3142" y="1793"/>
                  </a:lnTo>
                  <a:lnTo>
                    <a:pt x="3157" y="1969"/>
                  </a:lnTo>
                  <a:lnTo>
                    <a:pt x="3088" y="2168"/>
                  </a:lnTo>
                  <a:lnTo>
                    <a:pt x="3069" y="2262"/>
                  </a:lnTo>
                  <a:lnTo>
                    <a:pt x="3015" y="2418"/>
                  </a:lnTo>
                  <a:lnTo>
                    <a:pt x="3033" y="2585"/>
                  </a:lnTo>
                  <a:lnTo>
                    <a:pt x="3024" y="2710"/>
                  </a:lnTo>
                  <a:lnTo>
                    <a:pt x="3069" y="2835"/>
                  </a:lnTo>
                  <a:lnTo>
                    <a:pt x="3115" y="2950"/>
                  </a:lnTo>
                  <a:lnTo>
                    <a:pt x="3133" y="3096"/>
                  </a:lnTo>
                  <a:lnTo>
                    <a:pt x="3113" y="3208"/>
                  </a:lnTo>
                  <a:lnTo>
                    <a:pt x="3027" y="3257"/>
                  </a:lnTo>
                  <a:lnTo>
                    <a:pt x="2941" y="3307"/>
                  </a:lnTo>
                  <a:lnTo>
                    <a:pt x="2842" y="3346"/>
                  </a:lnTo>
                  <a:lnTo>
                    <a:pt x="2733" y="3346"/>
                  </a:lnTo>
                  <a:lnTo>
                    <a:pt x="2687" y="3231"/>
                  </a:lnTo>
                  <a:lnTo>
                    <a:pt x="2637" y="3109"/>
                  </a:lnTo>
                  <a:lnTo>
                    <a:pt x="2596" y="3169"/>
                  </a:lnTo>
                  <a:lnTo>
                    <a:pt x="2524" y="3210"/>
                  </a:lnTo>
                  <a:lnTo>
                    <a:pt x="2433" y="3263"/>
                  </a:lnTo>
                  <a:lnTo>
                    <a:pt x="2324" y="3242"/>
                  </a:lnTo>
                  <a:lnTo>
                    <a:pt x="2251" y="3169"/>
                  </a:lnTo>
                  <a:lnTo>
                    <a:pt x="2296" y="3033"/>
                  </a:lnTo>
                  <a:lnTo>
                    <a:pt x="2205" y="2960"/>
                  </a:lnTo>
                  <a:lnTo>
                    <a:pt x="2133" y="3012"/>
                  </a:lnTo>
                  <a:lnTo>
                    <a:pt x="1989" y="3059"/>
                  </a:lnTo>
                  <a:lnTo>
                    <a:pt x="1903" y="3059"/>
                  </a:lnTo>
                  <a:lnTo>
                    <a:pt x="1860" y="3059"/>
                  </a:lnTo>
                  <a:lnTo>
                    <a:pt x="1730" y="3010"/>
                  </a:lnTo>
                  <a:lnTo>
                    <a:pt x="1557" y="3010"/>
                  </a:lnTo>
                  <a:lnTo>
                    <a:pt x="1470" y="3059"/>
                  </a:lnTo>
                  <a:lnTo>
                    <a:pt x="1395" y="3067"/>
                  </a:lnTo>
                  <a:lnTo>
                    <a:pt x="1425" y="2986"/>
                  </a:lnTo>
                  <a:lnTo>
                    <a:pt x="1396" y="2936"/>
                  </a:lnTo>
                  <a:lnTo>
                    <a:pt x="1345" y="2892"/>
                  </a:lnTo>
                  <a:lnTo>
                    <a:pt x="1296" y="2834"/>
                  </a:lnTo>
                  <a:lnTo>
                    <a:pt x="1297" y="2736"/>
                  </a:lnTo>
                  <a:lnTo>
                    <a:pt x="1381" y="2647"/>
                  </a:lnTo>
                  <a:lnTo>
                    <a:pt x="1382" y="2540"/>
                  </a:lnTo>
                  <a:lnTo>
                    <a:pt x="1339" y="2489"/>
                  </a:lnTo>
                  <a:lnTo>
                    <a:pt x="1363" y="2439"/>
                  </a:lnTo>
                  <a:lnTo>
                    <a:pt x="1362" y="2230"/>
                  </a:lnTo>
                  <a:lnTo>
                    <a:pt x="1339" y="2193"/>
                  </a:lnTo>
                  <a:lnTo>
                    <a:pt x="1362" y="2139"/>
                  </a:lnTo>
                  <a:lnTo>
                    <a:pt x="1350" y="2042"/>
                  </a:lnTo>
                  <a:lnTo>
                    <a:pt x="1286" y="2001"/>
                  </a:lnTo>
                  <a:lnTo>
                    <a:pt x="1206" y="1967"/>
                  </a:lnTo>
                  <a:lnTo>
                    <a:pt x="1106" y="1980"/>
                  </a:lnTo>
                  <a:lnTo>
                    <a:pt x="1036" y="1928"/>
                  </a:lnTo>
                  <a:lnTo>
                    <a:pt x="968" y="1862"/>
                  </a:lnTo>
                  <a:lnTo>
                    <a:pt x="987" y="1758"/>
                  </a:lnTo>
                  <a:lnTo>
                    <a:pt x="1077" y="1639"/>
                  </a:lnTo>
                  <a:lnTo>
                    <a:pt x="1037" y="1550"/>
                  </a:lnTo>
                  <a:lnTo>
                    <a:pt x="996" y="1500"/>
                  </a:lnTo>
                  <a:lnTo>
                    <a:pt x="1038" y="1449"/>
                  </a:lnTo>
                  <a:lnTo>
                    <a:pt x="955" y="1351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宋体" panose="02010600030101010101" pitchFamily="2" charset="-122"/>
              </a:endParaRPr>
            </a:p>
          </p:txBody>
        </p:sp>
        <p:sp>
          <p:nvSpPr>
            <p:cNvPr id="70" name="Freeform 64">
              <a:extLst>
                <a:ext uri="{FF2B5EF4-FFF2-40B4-BE49-F238E27FC236}">
                  <a16:creationId xmlns:a16="http://schemas.microsoft.com/office/drawing/2014/main" id="{8007227D-51B1-DAA1-7BE3-2BCE8BA78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1873" y="1955800"/>
              <a:ext cx="825500" cy="927100"/>
            </a:xfrm>
            <a:custGeom>
              <a:avLst/>
              <a:gdLst>
                <a:gd name="T0" fmla="*/ 54 w 2600"/>
                <a:gd name="T1" fmla="*/ 2826 h 2919"/>
                <a:gd name="T2" fmla="*/ 70 w 2600"/>
                <a:gd name="T3" fmla="*/ 2694 h 2919"/>
                <a:gd name="T4" fmla="*/ 28 w 2600"/>
                <a:gd name="T5" fmla="*/ 2546 h 2919"/>
                <a:gd name="T6" fmla="*/ 27 w 2600"/>
                <a:gd name="T7" fmla="*/ 2343 h 2919"/>
                <a:gd name="T8" fmla="*/ 71 w 2600"/>
                <a:gd name="T9" fmla="*/ 2195 h 2919"/>
                <a:gd name="T10" fmla="*/ 224 w 2600"/>
                <a:gd name="T11" fmla="*/ 2001 h 2919"/>
                <a:gd name="T12" fmla="*/ 372 w 2600"/>
                <a:gd name="T13" fmla="*/ 1862 h 2919"/>
                <a:gd name="T14" fmla="*/ 305 w 2600"/>
                <a:gd name="T15" fmla="*/ 1749 h 2919"/>
                <a:gd name="T16" fmla="*/ 265 w 2600"/>
                <a:gd name="T17" fmla="*/ 1535 h 2919"/>
                <a:gd name="T18" fmla="*/ 286 w 2600"/>
                <a:gd name="T19" fmla="*/ 1405 h 2919"/>
                <a:gd name="T20" fmla="*/ 243 w 2600"/>
                <a:gd name="T21" fmla="*/ 1306 h 2919"/>
                <a:gd name="T22" fmla="*/ 263 w 2600"/>
                <a:gd name="T23" fmla="*/ 1176 h 2919"/>
                <a:gd name="T24" fmla="*/ 240 w 2600"/>
                <a:gd name="T25" fmla="*/ 1060 h 2919"/>
                <a:gd name="T26" fmla="*/ 215 w 2600"/>
                <a:gd name="T27" fmla="*/ 827 h 2919"/>
                <a:gd name="T28" fmla="*/ 200 w 2600"/>
                <a:gd name="T29" fmla="*/ 561 h 2919"/>
                <a:gd name="T30" fmla="*/ 345 w 2600"/>
                <a:gd name="T31" fmla="*/ 446 h 2919"/>
                <a:gd name="T32" fmla="*/ 561 w 2600"/>
                <a:gd name="T33" fmla="*/ 297 h 2919"/>
                <a:gd name="T34" fmla="*/ 769 w 2600"/>
                <a:gd name="T35" fmla="*/ 230 h 2919"/>
                <a:gd name="T36" fmla="*/ 1035 w 2600"/>
                <a:gd name="T37" fmla="*/ 99 h 2919"/>
                <a:gd name="T38" fmla="*/ 1294 w 2600"/>
                <a:gd name="T39" fmla="*/ 0 h 2919"/>
                <a:gd name="T40" fmla="*/ 1596 w 2600"/>
                <a:gd name="T41" fmla="*/ 50 h 2919"/>
                <a:gd name="T42" fmla="*/ 1702 w 2600"/>
                <a:gd name="T43" fmla="*/ 215 h 2919"/>
                <a:gd name="T44" fmla="*/ 1874 w 2600"/>
                <a:gd name="T45" fmla="*/ 247 h 2919"/>
                <a:gd name="T46" fmla="*/ 2200 w 2600"/>
                <a:gd name="T47" fmla="*/ 495 h 2919"/>
                <a:gd name="T48" fmla="*/ 2459 w 2600"/>
                <a:gd name="T49" fmla="*/ 644 h 2919"/>
                <a:gd name="T50" fmla="*/ 2600 w 2600"/>
                <a:gd name="T51" fmla="*/ 730 h 2919"/>
                <a:gd name="T52" fmla="*/ 2524 w 2600"/>
                <a:gd name="T53" fmla="*/ 874 h 2919"/>
                <a:gd name="T54" fmla="*/ 2329 w 2600"/>
                <a:gd name="T55" fmla="*/ 990 h 2919"/>
                <a:gd name="T56" fmla="*/ 2070 w 2600"/>
                <a:gd name="T57" fmla="*/ 743 h 2919"/>
                <a:gd name="T58" fmla="*/ 1898 w 2600"/>
                <a:gd name="T59" fmla="*/ 743 h 2919"/>
                <a:gd name="T60" fmla="*/ 1768 w 2600"/>
                <a:gd name="T61" fmla="*/ 644 h 2919"/>
                <a:gd name="T62" fmla="*/ 1632 w 2600"/>
                <a:gd name="T63" fmla="*/ 739 h 2919"/>
                <a:gd name="T64" fmla="*/ 1639 w 2600"/>
                <a:gd name="T65" fmla="*/ 891 h 2919"/>
                <a:gd name="T66" fmla="*/ 1625 w 2600"/>
                <a:gd name="T67" fmla="*/ 1088 h 2919"/>
                <a:gd name="T68" fmla="*/ 1507 w 2600"/>
                <a:gd name="T69" fmla="*/ 1233 h 2919"/>
                <a:gd name="T70" fmla="*/ 1246 w 2600"/>
                <a:gd name="T71" fmla="*/ 1385 h 2919"/>
                <a:gd name="T72" fmla="*/ 1071 w 2600"/>
                <a:gd name="T73" fmla="*/ 1437 h 2919"/>
                <a:gd name="T74" fmla="*/ 1052 w 2600"/>
                <a:gd name="T75" fmla="*/ 1692 h 2919"/>
                <a:gd name="T76" fmla="*/ 1073 w 2600"/>
                <a:gd name="T77" fmla="*/ 1898 h 2919"/>
                <a:gd name="T78" fmla="*/ 1156 w 2600"/>
                <a:gd name="T79" fmla="*/ 2017 h 2919"/>
                <a:gd name="T80" fmla="*/ 1218 w 2600"/>
                <a:gd name="T81" fmla="*/ 2176 h 2919"/>
                <a:gd name="T82" fmla="*/ 1167 w 2600"/>
                <a:gd name="T83" fmla="*/ 2331 h 2919"/>
                <a:gd name="T84" fmla="*/ 1071 w 2600"/>
                <a:gd name="T85" fmla="*/ 2427 h 2919"/>
                <a:gd name="T86" fmla="*/ 1045 w 2600"/>
                <a:gd name="T87" fmla="*/ 2581 h 2919"/>
                <a:gd name="T88" fmla="*/ 1084 w 2600"/>
                <a:gd name="T89" fmla="*/ 2721 h 2919"/>
                <a:gd name="T90" fmla="*/ 913 w 2600"/>
                <a:gd name="T91" fmla="*/ 2868 h 2919"/>
                <a:gd name="T92" fmla="*/ 745 w 2600"/>
                <a:gd name="T93" fmla="*/ 2777 h 2919"/>
                <a:gd name="T94" fmla="*/ 540 w 2600"/>
                <a:gd name="T95" fmla="*/ 2742 h 2919"/>
                <a:gd name="T96" fmla="*/ 349 w 2600"/>
                <a:gd name="T97" fmla="*/ 2792 h 2919"/>
                <a:gd name="T98" fmla="*/ 177 w 2600"/>
                <a:gd name="T99" fmla="*/ 2919 h 2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00" h="2919">
                  <a:moveTo>
                    <a:pt x="177" y="2919"/>
                  </a:moveTo>
                  <a:lnTo>
                    <a:pt x="54" y="2826"/>
                  </a:lnTo>
                  <a:lnTo>
                    <a:pt x="0" y="2803"/>
                  </a:lnTo>
                  <a:lnTo>
                    <a:pt x="70" y="2694"/>
                  </a:lnTo>
                  <a:lnTo>
                    <a:pt x="27" y="2645"/>
                  </a:lnTo>
                  <a:lnTo>
                    <a:pt x="28" y="2546"/>
                  </a:lnTo>
                  <a:lnTo>
                    <a:pt x="35" y="2444"/>
                  </a:lnTo>
                  <a:lnTo>
                    <a:pt x="27" y="2343"/>
                  </a:lnTo>
                  <a:lnTo>
                    <a:pt x="27" y="2246"/>
                  </a:lnTo>
                  <a:lnTo>
                    <a:pt x="71" y="2195"/>
                  </a:lnTo>
                  <a:lnTo>
                    <a:pt x="115" y="2098"/>
                  </a:lnTo>
                  <a:lnTo>
                    <a:pt x="224" y="2001"/>
                  </a:lnTo>
                  <a:lnTo>
                    <a:pt x="331" y="1951"/>
                  </a:lnTo>
                  <a:lnTo>
                    <a:pt x="372" y="1862"/>
                  </a:lnTo>
                  <a:lnTo>
                    <a:pt x="393" y="1803"/>
                  </a:lnTo>
                  <a:lnTo>
                    <a:pt x="305" y="1749"/>
                  </a:lnTo>
                  <a:lnTo>
                    <a:pt x="284" y="1638"/>
                  </a:lnTo>
                  <a:lnTo>
                    <a:pt x="265" y="1535"/>
                  </a:lnTo>
                  <a:lnTo>
                    <a:pt x="242" y="1456"/>
                  </a:lnTo>
                  <a:lnTo>
                    <a:pt x="286" y="1405"/>
                  </a:lnTo>
                  <a:lnTo>
                    <a:pt x="286" y="1358"/>
                  </a:lnTo>
                  <a:lnTo>
                    <a:pt x="243" y="1306"/>
                  </a:lnTo>
                  <a:lnTo>
                    <a:pt x="286" y="1256"/>
                  </a:lnTo>
                  <a:lnTo>
                    <a:pt x="263" y="1176"/>
                  </a:lnTo>
                  <a:lnTo>
                    <a:pt x="286" y="1110"/>
                  </a:lnTo>
                  <a:lnTo>
                    <a:pt x="240" y="1060"/>
                  </a:lnTo>
                  <a:lnTo>
                    <a:pt x="249" y="898"/>
                  </a:lnTo>
                  <a:lnTo>
                    <a:pt x="215" y="827"/>
                  </a:lnTo>
                  <a:lnTo>
                    <a:pt x="201" y="757"/>
                  </a:lnTo>
                  <a:lnTo>
                    <a:pt x="200" y="561"/>
                  </a:lnTo>
                  <a:lnTo>
                    <a:pt x="259" y="495"/>
                  </a:lnTo>
                  <a:lnTo>
                    <a:pt x="345" y="446"/>
                  </a:lnTo>
                  <a:lnTo>
                    <a:pt x="432" y="347"/>
                  </a:lnTo>
                  <a:lnTo>
                    <a:pt x="561" y="297"/>
                  </a:lnTo>
                  <a:lnTo>
                    <a:pt x="690" y="297"/>
                  </a:lnTo>
                  <a:lnTo>
                    <a:pt x="769" y="230"/>
                  </a:lnTo>
                  <a:lnTo>
                    <a:pt x="906" y="99"/>
                  </a:lnTo>
                  <a:lnTo>
                    <a:pt x="1035" y="99"/>
                  </a:lnTo>
                  <a:lnTo>
                    <a:pt x="1164" y="50"/>
                  </a:lnTo>
                  <a:lnTo>
                    <a:pt x="1294" y="0"/>
                  </a:lnTo>
                  <a:lnTo>
                    <a:pt x="1424" y="0"/>
                  </a:lnTo>
                  <a:lnTo>
                    <a:pt x="1596" y="50"/>
                  </a:lnTo>
                  <a:lnTo>
                    <a:pt x="1639" y="149"/>
                  </a:lnTo>
                  <a:lnTo>
                    <a:pt x="1702" y="215"/>
                  </a:lnTo>
                  <a:lnTo>
                    <a:pt x="1768" y="248"/>
                  </a:lnTo>
                  <a:lnTo>
                    <a:pt x="1874" y="247"/>
                  </a:lnTo>
                  <a:lnTo>
                    <a:pt x="2041" y="381"/>
                  </a:lnTo>
                  <a:lnTo>
                    <a:pt x="2200" y="495"/>
                  </a:lnTo>
                  <a:lnTo>
                    <a:pt x="2329" y="594"/>
                  </a:lnTo>
                  <a:lnTo>
                    <a:pt x="2459" y="644"/>
                  </a:lnTo>
                  <a:lnTo>
                    <a:pt x="2545" y="693"/>
                  </a:lnTo>
                  <a:lnTo>
                    <a:pt x="2600" y="730"/>
                  </a:lnTo>
                  <a:lnTo>
                    <a:pt x="2580" y="810"/>
                  </a:lnTo>
                  <a:lnTo>
                    <a:pt x="2524" y="874"/>
                  </a:lnTo>
                  <a:lnTo>
                    <a:pt x="2462" y="953"/>
                  </a:lnTo>
                  <a:lnTo>
                    <a:pt x="2329" y="990"/>
                  </a:lnTo>
                  <a:lnTo>
                    <a:pt x="2200" y="842"/>
                  </a:lnTo>
                  <a:lnTo>
                    <a:pt x="2070" y="743"/>
                  </a:lnTo>
                  <a:lnTo>
                    <a:pt x="2006" y="730"/>
                  </a:lnTo>
                  <a:lnTo>
                    <a:pt x="1898" y="743"/>
                  </a:lnTo>
                  <a:lnTo>
                    <a:pt x="1855" y="693"/>
                  </a:lnTo>
                  <a:lnTo>
                    <a:pt x="1768" y="644"/>
                  </a:lnTo>
                  <a:lnTo>
                    <a:pt x="1667" y="667"/>
                  </a:lnTo>
                  <a:lnTo>
                    <a:pt x="1632" y="739"/>
                  </a:lnTo>
                  <a:lnTo>
                    <a:pt x="1625" y="818"/>
                  </a:lnTo>
                  <a:lnTo>
                    <a:pt x="1639" y="891"/>
                  </a:lnTo>
                  <a:lnTo>
                    <a:pt x="1639" y="990"/>
                  </a:lnTo>
                  <a:lnTo>
                    <a:pt x="1625" y="1088"/>
                  </a:lnTo>
                  <a:lnTo>
                    <a:pt x="1596" y="1188"/>
                  </a:lnTo>
                  <a:lnTo>
                    <a:pt x="1507" y="1233"/>
                  </a:lnTo>
                  <a:lnTo>
                    <a:pt x="1381" y="1281"/>
                  </a:lnTo>
                  <a:lnTo>
                    <a:pt x="1246" y="1385"/>
                  </a:lnTo>
                  <a:lnTo>
                    <a:pt x="1148" y="1406"/>
                  </a:lnTo>
                  <a:lnTo>
                    <a:pt x="1071" y="1437"/>
                  </a:lnTo>
                  <a:lnTo>
                    <a:pt x="1029" y="1587"/>
                  </a:lnTo>
                  <a:lnTo>
                    <a:pt x="1052" y="1692"/>
                  </a:lnTo>
                  <a:lnTo>
                    <a:pt x="1073" y="1771"/>
                  </a:lnTo>
                  <a:lnTo>
                    <a:pt x="1073" y="1898"/>
                  </a:lnTo>
                  <a:lnTo>
                    <a:pt x="1093" y="1953"/>
                  </a:lnTo>
                  <a:lnTo>
                    <a:pt x="1156" y="2017"/>
                  </a:lnTo>
                  <a:lnTo>
                    <a:pt x="1207" y="2080"/>
                  </a:lnTo>
                  <a:lnTo>
                    <a:pt x="1218" y="2176"/>
                  </a:lnTo>
                  <a:lnTo>
                    <a:pt x="1219" y="2268"/>
                  </a:lnTo>
                  <a:lnTo>
                    <a:pt x="1167" y="2331"/>
                  </a:lnTo>
                  <a:lnTo>
                    <a:pt x="1128" y="2398"/>
                  </a:lnTo>
                  <a:lnTo>
                    <a:pt x="1071" y="2427"/>
                  </a:lnTo>
                  <a:lnTo>
                    <a:pt x="1030" y="2478"/>
                  </a:lnTo>
                  <a:lnTo>
                    <a:pt x="1045" y="2581"/>
                  </a:lnTo>
                  <a:lnTo>
                    <a:pt x="1126" y="2624"/>
                  </a:lnTo>
                  <a:lnTo>
                    <a:pt x="1084" y="2721"/>
                  </a:lnTo>
                  <a:lnTo>
                    <a:pt x="996" y="2774"/>
                  </a:lnTo>
                  <a:lnTo>
                    <a:pt x="913" y="2868"/>
                  </a:lnTo>
                  <a:lnTo>
                    <a:pt x="801" y="2879"/>
                  </a:lnTo>
                  <a:lnTo>
                    <a:pt x="745" y="2777"/>
                  </a:lnTo>
                  <a:lnTo>
                    <a:pt x="666" y="2660"/>
                  </a:lnTo>
                  <a:lnTo>
                    <a:pt x="540" y="2742"/>
                  </a:lnTo>
                  <a:lnTo>
                    <a:pt x="438" y="2720"/>
                  </a:lnTo>
                  <a:lnTo>
                    <a:pt x="349" y="2792"/>
                  </a:lnTo>
                  <a:lnTo>
                    <a:pt x="256" y="2843"/>
                  </a:lnTo>
                  <a:lnTo>
                    <a:pt x="177" y="2919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71" name="Freeform 65">
              <a:extLst>
                <a:ext uri="{FF2B5EF4-FFF2-40B4-BE49-F238E27FC236}">
                  <a16:creationId xmlns:a16="http://schemas.microsoft.com/office/drawing/2014/main" id="{5D442472-EB7E-64A5-1C44-1F40D1755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898" y="2271713"/>
              <a:ext cx="631825" cy="942975"/>
            </a:xfrm>
            <a:custGeom>
              <a:avLst/>
              <a:gdLst>
                <a:gd name="T0" fmla="*/ 2 w 1990"/>
                <a:gd name="T1" fmla="*/ 1479 h 2970"/>
                <a:gd name="T2" fmla="*/ 96 w 1990"/>
                <a:gd name="T3" fmla="*/ 1402 h 2970"/>
                <a:gd name="T4" fmla="*/ 191 w 1990"/>
                <a:gd name="T5" fmla="*/ 1275 h 2970"/>
                <a:gd name="T6" fmla="*/ 174 w 1990"/>
                <a:gd name="T7" fmla="*/ 1082 h 2970"/>
                <a:gd name="T8" fmla="*/ 58 w 1990"/>
                <a:gd name="T9" fmla="*/ 955 h 2970"/>
                <a:gd name="T10" fmla="*/ 40 w 1990"/>
                <a:gd name="T11" fmla="*/ 774 h 2970"/>
                <a:gd name="T12" fmla="*/ 0 w 1990"/>
                <a:gd name="T13" fmla="*/ 589 h 2970"/>
                <a:gd name="T14" fmla="*/ 118 w 1990"/>
                <a:gd name="T15" fmla="*/ 409 h 2970"/>
                <a:gd name="T16" fmla="*/ 349 w 1990"/>
                <a:gd name="T17" fmla="*/ 289 h 2970"/>
                <a:gd name="T18" fmla="*/ 566 w 1990"/>
                <a:gd name="T19" fmla="*/ 190 h 2970"/>
                <a:gd name="T20" fmla="*/ 606 w 1990"/>
                <a:gd name="T21" fmla="*/ 0 h 2970"/>
                <a:gd name="T22" fmla="*/ 766 w 1990"/>
                <a:gd name="T23" fmla="*/ 107 h 2970"/>
                <a:gd name="T24" fmla="*/ 926 w 1990"/>
                <a:gd name="T25" fmla="*/ 18 h 2970"/>
                <a:gd name="T26" fmla="*/ 1092 w 1990"/>
                <a:gd name="T27" fmla="*/ 43 h 2970"/>
                <a:gd name="T28" fmla="*/ 1271 w 1990"/>
                <a:gd name="T29" fmla="*/ 175 h 2970"/>
                <a:gd name="T30" fmla="*/ 1351 w 1990"/>
                <a:gd name="T31" fmla="*/ 390 h 2970"/>
                <a:gd name="T32" fmla="*/ 1481 w 1990"/>
                <a:gd name="T33" fmla="*/ 539 h 2970"/>
                <a:gd name="T34" fmla="*/ 1524 w 1990"/>
                <a:gd name="T35" fmla="*/ 638 h 2970"/>
                <a:gd name="T36" fmla="*/ 1622 w 1990"/>
                <a:gd name="T37" fmla="*/ 811 h 2970"/>
                <a:gd name="T38" fmla="*/ 1869 w 1990"/>
                <a:gd name="T39" fmla="*/ 788 h 2970"/>
                <a:gd name="T40" fmla="*/ 1869 w 1990"/>
                <a:gd name="T41" fmla="*/ 936 h 2970"/>
                <a:gd name="T42" fmla="*/ 1783 w 1990"/>
                <a:gd name="T43" fmla="*/ 1036 h 2970"/>
                <a:gd name="T44" fmla="*/ 1844 w 1990"/>
                <a:gd name="T45" fmla="*/ 1234 h 2970"/>
                <a:gd name="T46" fmla="*/ 1956 w 1990"/>
                <a:gd name="T47" fmla="*/ 1283 h 2970"/>
                <a:gd name="T48" fmla="*/ 1976 w 1990"/>
                <a:gd name="T49" fmla="*/ 1432 h 2970"/>
                <a:gd name="T50" fmla="*/ 1904 w 1990"/>
                <a:gd name="T51" fmla="*/ 1578 h 2970"/>
                <a:gd name="T52" fmla="*/ 1826 w 1990"/>
                <a:gd name="T53" fmla="*/ 1680 h 2970"/>
                <a:gd name="T54" fmla="*/ 1783 w 1990"/>
                <a:gd name="T55" fmla="*/ 1828 h 2970"/>
                <a:gd name="T56" fmla="*/ 1610 w 1990"/>
                <a:gd name="T57" fmla="*/ 1878 h 2970"/>
                <a:gd name="T58" fmla="*/ 1481 w 1990"/>
                <a:gd name="T59" fmla="*/ 1977 h 2970"/>
                <a:gd name="T60" fmla="*/ 1371 w 1990"/>
                <a:gd name="T61" fmla="*/ 2089 h 2970"/>
                <a:gd name="T62" fmla="*/ 1276 w 1990"/>
                <a:gd name="T63" fmla="*/ 2230 h 2970"/>
                <a:gd name="T64" fmla="*/ 1349 w 1990"/>
                <a:gd name="T65" fmla="*/ 2329 h 2970"/>
                <a:gd name="T66" fmla="*/ 1367 w 1990"/>
                <a:gd name="T67" fmla="*/ 2449 h 2970"/>
                <a:gd name="T68" fmla="*/ 1317 w 1990"/>
                <a:gd name="T69" fmla="*/ 2580 h 2970"/>
                <a:gd name="T70" fmla="*/ 1380 w 1990"/>
                <a:gd name="T71" fmla="*/ 2736 h 2970"/>
                <a:gd name="T72" fmla="*/ 1308 w 1990"/>
                <a:gd name="T73" fmla="*/ 2872 h 2970"/>
                <a:gd name="T74" fmla="*/ 1189 w 1990"/>
                <a:gd name="T75" fmla="*/ 2887 h 2970"/>
                <a:gd name="T76" fmla="*/ 1050 w 1990"/>
                <a:gd name="T77" fmla="*/ 2824 h 2970"/>
                <a:gd name="T78" fmla="*/ 1007 w 1990"/>
                <a:gd name="T79" fmla="*/ 2367 h 2970"/>
                <a:gd name="T80" fmla="*/ 998 w 1990"/>
                <a:gd name="T81" fmla="*/ 2135 h 2970"/>
                <a:gd name="T82" fmla="*/ 831 w 1990"/>
                <a:gd name="T83" fmla="*/ 1926 h 2970"/>
                <a:gd name="T84" fmla="*/ 618 w 1990"/>
                <a:gd name="T85" fmla="*/ 1681 h 2970"/>
                <a:gd name="T86" fmla="*/ 408 w 1990"/>
                <a:gd name="T87" fmla="*/ 1590 h 2970"/>
                <a:gd name="T88" fmla="*/ 227 w 1990"/>
                <a:gd name="T89" fmla="*/ 1680 h 2970"/>
                <a:gd name="T90" fmla="*/ 13 w 1990"/>
                <a:gd name="T91" fmla="*/ 1586 h 2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90" h="2970">
                  <a:moveTo>
                    <a:pt x="13" y="1586"/>
                  </a:moveTo>
                  <a:lnTo>
                    <a:pt x="2" y="1479"/>
                  </a:lnTo>
                  <a:lnTo>
                    <a:pt x="45" y="1429"/>
                  </a:lnTo>
                  <a:lnTo>
                    <a:pt x="96" y="1402"/>
                  </a:lnTo>
                  <a:lnTo>
                    <a:pt x="141" y="1333"/>
                  </a:lnTo>
                  <a:lnTo>
                    <a:pt x="191" y="1275"/>
                  </a:lnTo>
                  <a:lnTo>
                    <a:pt x="186" y="1184"/>
                  </a:lnTo>
                  <a:lnTo>
                    <a:pt x="174" y="1082"/>
                  </a:lnTo>
                  <a:lnTo>
                    <a:pt x="124" y="1024"/>
                  </a:lnTo>
                  <a:lnTo>
                    <a:pt x="58" y="955"/>
                  </a:lnTo>
                  <a:lnTo>
                    <a:pt x="39" y="900"/>
                  </a:lnTo>
                  <a:lnTo>
                    <a:pt x="40" y="774"/>
                  </a:lnTo>
                  <a:lnTo>
                    <a:pt x="17" y="691"/>
                  </a:lnTo>
                  <a:lnTo>
                    <a:pt x="0" y="589"/>
                  </a:lnTo>
                  <a:lnTo>
                    <a:pt x="43" y="440"/>
                  </a:lnTo>
                  <a:lnTo>
                    <a:pt x="118" y="409"/>
                  </a:lnTo>
                  <a:lnTo>
                    <a:pt x="218" y="389"/>
                  </a:lnTo>
                  <a:lnTo>
                    <a:pt x="349" y="289"/>
                  </a:lnTo>
                  <a:lnTo>
                    <a:pt x="479" y="239"/>
                  </a:lnTo>
                  <a:lnTo>
                    <a:pt x="566" y="190"/>
                  </a:lnTo>
                  <a:lnTo>
                    <a:pt x="595" y="86"/>
                  </a:lnTo>
                  <a:lnTo>
                    <a:pt x="606" y="0"/>
                  </a:lnTo>
                  <a:lnTo>
                    <a:pt x="702" y="93"/>
                  </a:lnTo>
                  <a:lnTo>
                    <a:pt x="766" y="107"/>
                  </a:lnTo>
                  <a:lnTo>
                    <a:pt x="832" y="43"/>
                  </a:lnTo>
                  <a:lnTo>
                    <a:pt x="926" y="18"/>
                  </a:lnTo>
                  <a:lnTo>
                    <a:pt x="1003" y="18"/>
                  </a:lnTo>
                  <a:lnTo>
                    <a:pt x="1092" y="43"/>
                  </a:lnTo>
                  <a:lnTo>
                    <a:pt x="1194" y="70"/>
                  </a:lnTo>
                  <a:lnTo>
                    <a:pt x="1271" y="175"/>
                  </a:lnTo>
                  <a:lnTo>
                    <a:pt x="1290" y="295"/>
                  </a:lnTo>
                  <a:lnTo>
                    <a:pt x="1351" y="390"/>
                  </a:lnTo>
                  <a:lnTo>
                    <a:pt x="1437" y="489"/>
                  </a:lnTo>
                  <a:lnTo>
                    <a:pt x="1481" y="539"/>
                  </a:lnTo>
                  <a:lnTo>
                    <a:pt x="1481" y="589"/>
                  </a:lnTo>
                  <a:lnTo>
                    <a:pt x="1524" y="638"/>
                  </a:lnTo>
                  <a:lnTo>
                    <a:pt x="1549" y="717"/>
                  </a:lnTo>
                  <a:lnTo>
                    <a:pt x="1622" y="811"/>
                  </a:lnTo>
                  <a:lnTo>
                    <a:pt x="1776" y="764"/>
                  </a:lnTo>
                  <a:lnTo>
                    <a:pt x="1869" y="788"/>
                  </a:lnTo>
                  <a:lnTo>
                    <a:pt x="1908" y="884"/>
                  </a:lnTo>
                  <a:lnTo>
                    <a:pt x="1869" y="936"/>
                  </a:lnTo>
                  <a:lnTo>
                    <a:pt x="1826" y="986"/>
                  </a:lnTo>
                  <a:lnTo>
                    <a:pt x="1783" y="1036"/>
                  </a:lnTo>
                  <a:lnTo>
                    <a:pt x="1783" y="1135"/>
                  </a:lnTo>
                  <a:lnTo>
                    <a:pt x="1844" y="1234"/>
                  </a:lnTo>
                  <a:lnTo>
                    <a:pt x="1922" y="1249"/>
                  </a:lnTo>
                  <a:lnTo>
                    <a:pt x="1956" y="1283"/>
                  </a:lnTo>
                  <a:lnTo>
                    <a:pt x="1990" y="1364"/>
                  </a:lnTo>
                  <a:lnTo>
                    <a:pt x="1976" y="1432"/>
                  </a:lnTo>
                  <a:lnTo>
                    <a:pt x="1956" y="1482"/>
                  </a:lnTo>
                  <a:lnTo>
                    <a:pt x="1904" y="1578"/>
                  </a:lnTo>
                  <a:lnTo>
                    <a:pt x="1869" y="1630"/>
                  </a:lnTo>
                  <a:lnTo>
                    <a:pt x="1826" y="1680"/>
                  </a:lnTo>
                  <a:lnTo>
                    <a:pt x="1863" y="1802"/>
                  </a:lnTo>
                  <a:lnTo>
                    <a:pt x="1783" y="1828"/>
                  </a:lnTo>
                  <a:lnTo>
                    <a:pt x="1697" y="1828"/>
                  </a:lnTo>
                  <a:lnTo>
                    <a:pt x="1610" y="1878"/>
                  </a:lnTo>
                  <a:lnTo>
                    <a:pt x="1524" y="1928"/>
                  </a:lnTo>
                  <a:lnTo>
                    <a:pt x="1481" y="1977"/>
                  </a:lnTo>
                  <a:lnTo>
                    <a:pt x="1437" y="2027"/>
                  </a:lnTo>
                  <a:lnTo>
                    <a:pt x="1371" y="2089"/>
                  </a:lnTo>
                  <a:lnTo>
                    <a:pt x="1326" y="2173"/>
                  </a:lnTo>
                  <a:lnTo>
                    <a:pt x="1276" y="2230"/>
                  </a:lnTo>
                  <a:lnTo>
                    <a:pt x="1308" y="2275"/>
                  </a:lnTo>
                  <a:lnTo>
                    <a:pt x="1349" y="2329"/>
                  </a:lnTo>
                  <a:lnTo>
                    <a:pt x="1380" y="2381"/>
                  </a:lnTo>
                  <a:lnTo>
                    <a:pt x="1367" y="2449"/>
                  </a:lnTo>
                  <a:lnTo>
                    <a:pt x="1344" y="2517"/>
                  </a:lnTo>
                  <a:lnTo>
                    <a:pt x="1317" y="2580"/>
                  </a:lnTo>
                  <a:lnTo>
                    <a:pt x="1353" y="2668"/>
                  </a:lnTo>
                  <a:lnTo>
                    <a:pt x="1380" y="2736"/>
                  </a:lnTo>
                  <a:lnTo>
                    <a:pt x="1358" y="2809"/>
                  </a:lnTo>
                  <a:lnTo>
                    <a:pt x="1308" y="2872"/>
                  </a:lnTo>
                  <a:lnTo>
                    <a:pt x="1266" y="2970"/>
                  </a:lnTo>
                  <a:lnTo>
                    <a:pt x="1189" y="2887"/>
                  </a:lnTo>
                  <a:lnTo>
                    <a:pt x="1093" y="2872"/>
                  </a:lnTo>
                  <a:lnTo>
                    <a:pt x="1050" y="2824"/>
                  </a:lnTo>
                  <a:lnTo>
                    <a:pt x="1005" y="2720"/>
                  </a:lnTo>
                  <a:lnTo>
                    <a:pt x="1007" y="2367"/>
                  </a:lnTo>
                  <a:lnTo>
                    <a:pt x="1017" y="2227"/>
                  </a:lnTo>
                  <a:lnTo>
                    <a:pt x="998" y="2135"/>
                  </a:lnTo>
                  <a:lnTo>
                    <a:pt x="925" y="2034"/>
                  </a:lnTo>
                  <a:lnTo>
                    <a:pt x="831" y="1926"/>
                  </a:lnTo>
                  <a:lnTo>
                    <a:pt x="699" y="1873"/>
                  </a:lnTo>
                  <a:lnTo>
                    <a:pt x="618" y="1681"/>
                  </a:lnTo>
                  <a:lnTo>
                    <a:pt x="533" y="1627"/>
                  </a:lnTo>
                  <a:lnTo>
                    <a:pt x="408" y="1590"/>
                  </a:lnTo>
                  <a:lnTo>
                    <a:pt x="308" y="1639"/>
                  </a:lnTo>
                  <a:lnTo>
                    <a:pt x="227" y="1680"/>
                  </a:lnTo>
                  <a:lnTo>
                    <a:pt x="98" y="1629"/>
                  </a:lnTo>
                  <a:lnTo>
                    <a:pt x="13" y="1586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宋体" panose="02010600030101010101" pitchFamily="2" charset="-122"/>
              </a:endParaRPr>
            </a:p>
          </p:txBody>
        </p:sp>
        <p:sp>
          <p:nvSpPr>
            <p:cNvPr id="72" name="Freeform 66">
              <a:extLst>
                <a:ext uri="{FF2B5EF4-FFF2-40B4-BE49-F238E27FC236}">
                  <a16:creationId xmlns:a16="http://schemas.microsoft.com/office/drawing/2014/main" id="{E307DD18-A0AA-B8C7-601F-30891EC4D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7811" y="2076450"/>
              <a:ext cx="903287" cy="960437"/>
            </a:xfrm>
            <a:custGeom>
              <a:avLst/>
              <a:gdLst>
                <a:gd name="T0" fmla="*/ 705 w 2847"/>
                <a:gd name="T1" fmla="*/ 607 h 3025"/>
                <a:gd name="T2" fmla="*/ 447 w 2847"/>
                <a:gd name="T3" fmla="*/ 363 h 3025"/>
                <a:gd name="T4" fmla="*/ 278 w 2847"/>
                <a:gd name="T5" fmla="*/ 364 h 3025"/>
                <a:gd name="T6" fmla="*/ 147 w 2847"/>
                <a:gd name="T7" fmla="*/ 263 h 3025"/>
                <a:gd name="T8" fmla="*/ 8 w 2847"/>
                <a:gd name="T9" fmla="*/ 364 h 3025"/>
                <a:gd name="T10" fmla="*/ 18 w 2847"/>
                <a:gd name="T11" fmla="*/ 519 h 3025"/>
                <a:gd name="T12" fmla="*/ 115 w 2847"/>
                <a:gd name="T13" fmla="*/ 712 h 3025"/>
                <a:gd name="T14" fmla="*/ 237 w 2847"/>
                <a:gd name="T15" fmla="*/ 660 h 3025"/>
                <a:gd name="T16" fmla="*/ 415 w 2847"/>
                <a:gd name="T17" fmla="*/ 636 h 3025"/>
                <a:gd name="T18" fmla="*/ 677 w 2847"/>
                <a:gd name="T19" fmla="*/ 793 h 3025"/>
                <a:gd name="T20" fmla="*/ 760 w 2847"/>
                <a:gd name="T21" fmla="*/ 1007 h 3025"/>
                <a:gd name="T22" fmla="*/ 884 w 2847"/>
                <a:gd name="T23" fmla="*/ 1203 h 3025"/>
                <a:gd name="T24" fmla="*/ 954 w 2847"/>
                <a:gd name="T25" fmla="*/ 1332 h 3025"/>
                <a:gd name="T26" fmla="*/ 1179 w 2847"/>
                <a:gd name="T27" fmla="*/ 1381 h 3025"/>
                <a:gd name="T28" fmla="*/ 1316 w 2847"/>
                <a:gd name="T29" fmla="*/ 1500 h 3025"/>
                <a:gd name="T30" fmla="*/ 1187 w 2847"/>
                <a:gd name="T31" fmla="*/ 1651 h 3025"/>
                <a:gd name="T32" fmla="*/ 1254 w 2847"/>
                <a:gd name="T33" fmla="*/ 1852 h 3025"/>
                <a:gd name="T34" fmla="*/ 1366 w 2847"/>
                <a:gd name="T35" fmla="*/ 1901 h 3025"/>
                <a:gd name="T36" fmla="*/ 1383 w 2847"/>
                <a:gd name="T37" fmla="*/ 2038 h 3025"/>
                <a:gd name="T38" fmla="*/ 1322 w 2847"/>
                <a:gd name="T39" fmla="*/ 2173 h 3025"/>
                <a:gd name="T40" fmla="*/ 1232 w 2847"/>
                <a:gd name="T41" fmla="*/ 2296 h 3025"/>
                <a:gd name="T42" fmla="*/ 1380 w 2847"/>
                <a:gd name="T43" fmla="*/ 2436 h 3025"/>
                <a:gd name="T44" fmla="*/ 1552 w 2847"/>
                <a:gd name="T45" fmla="*/ 2485 h 3025"/>
                <a:gd name="T46" fmla="*/ 1869 w 2847"/>
                <a:gd name="T47" fmla="*/ 2608 h 3025"/>
                <a:gd name="T48" fmla="*/ 1960 w 2847"/>
                <a:gd name="T49" fmla="*/ 2802 h 3025"/>
                <a:gd name="T50" fmla="*/ 2032 w 2847"/>
                <a:gd name="T51" fmla="*/ 2983 h 3025"/>
                <a:gd name="T52" fmla="*/ 2171 w 2847"/>
                <a:gd name="T53" fmla="*/ 2949 h 3025"/>
                <a:gd name="T54" fmla="*/ 2413 w 2847"/>
                <a:gd name="T55" fmla="*/ 2802 h 3025"/>
                <a:gd name="T56" fmla="*/ 2522 w 2847"/>
                <a:gd name="T57" fmla="*/ 2580 h 3025"/>
                <a:gd name="T58" fmla="*/ 2286 w 2847"/>
                <a:gd name="T59" fmla="*/ 2584 h 3025"/>
                <a:gd name="T60" fmla="*/ 2135 w 2847"/>
                <a:gd name="T61" fmla="*/ 2510 h 3025"/>
                <a:gd name="T62" fmla="*/ 2044 w 2847"/>
                <a:gd name="T63" fmla="*/ 2323 h 3025"/>
                <a:gd name="T64" fmla="*/ 1897 w 2847"/>
                <a:gd name="T65" fmla="*/ 2187 h 3025"/>
                <a:gd name="T66" fmla="*/ 1917 w 2847"/>
                <a:gd name="T67" fmla="*/ 2010 h 3025"/>
                <a:gd name="T68" fmla="*/ 1832 w 2847"/>
                <a:gd name="T69" fmla="*/ 1885 h 3025"/>
                <a:gd name="T70" fmla="*/ 1768 w 2847"/>
                <a:gd name="T71" fmla="*/ 1741 h 3025"/>
                <a:gd name="T72" fmla="*/ 2070 w 2847"/>
                <a:gd name="T73" fmla="*/ 1543 h 3025"/>
                <a:gd name="T74" fmla="*/ 2286 w 2847"/>
                <a:gd name="T75" fmla="*/ 1493 h 3025"/>
                <a:gd name="T76" fmla="*/ 2373 w 2847"/>
                <a:gd name="T77" fmla="*/ 1246 h 3025"/>
                <a:gd name="T78" fmla="*/ 2359 w 2847"/>
                <a:gd name="T79" fmla="*/ 1036 h 3025"/>
                <a:gd name="T80" fmla="*/ 2522 w 2847"/>
                <a:gd name="T81" fmla="*/ 883 h 3025"/>
                <a:gd name="T82" fmla="*/ 2722 w 2847"/>
                <a:gd name="T83" fmla="*/ 848 h 3025"/>
                <a:gd name="T84" fmla="*/ 2758 w 2847"/>
                <a:gd name="T85" fmla="*/ 695 h 3025"/>
                <a:gd name="T86" fmla="*/ 2771 w 2847"/>
                <a:gd name="T87" fmla="*/ 431 h 3025"/>
                <a:gd name="T88" fmla="*/ 2565 w 2847"/>
                <a:gd name="T89" fmla="*/ 292 h 3025"/>
                <a:gd name="T90" fmla="*/ 2373 w 2847"/>
                <a:gd name="T91" fmla="*/ 155 h 3025"/>
                <a:gd name="T92" fmla="*/ 2341 w 2847"/>
                <a:gd name="T93" fmla="*/ 0 h 3025"/>
                <a:gd name="T94" fmla="*/ 2159 w 2847"/>
                <a:gd name="T95" fmla="*/ 97 h 3025"/>
                <a:gd name="T96" fmla="*/ 2075 w 2847"/>
                <a:gd name="T97" fmla="*/ 243 h 3025"/>
                <a:gd name="T98" fmla="*/ 2002 w 2847"/>
                <a:gd name="T99" fmla="*/ 376 h 3025"/>
                <a:gd name="T100" fmla="*/ 1854 w 2847"/>
                <a:gd name="T101" fmla="*/ 353 h 3025"/>
                <a:gd name="T102" fmla="*/ 1596 w 2847"/>
                <a:gd name="T103" fmla="*/ 353 h 3025"/>
                <a:gd name="T104" fmla="*/ 1294 w 2847"/>
                <a:gd name="T105" fmla="*/ 254 h 3025"/>
                <a:gd name="T106" fmla="*/ 981 w 2847"/>
                <a:gd name="T107" fmla="*/ 349 h 3025"/>
                <a:gd name="T108" fmla="*/ 899 w 2847"/>
                <a:gd name="T109" fmla="*/ 496 h 3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47" h="3025">
                  <a:moveTo>
                    <a:pt x="840" y="573"/>
                  </a:moveTo>
                  <a:lnTo>
                    <a:pt x="705" y="607"/>
                  </a:lnTo>
                  <a:lnTo>
                    <a:pt x="576" y="463"/>
                  </a:lnTo>
                  <a:lnTo>
                    <a:pt x="447" y="363"/>
                  </a:lnTo>
                  <a:lnTo>
                    <a:pt x="387" y="349"/>
                  </a:lnTo>
                  <a:lnTo>
                    <a:pt x="278" y="364"/>
                  </a:lnTo>
                  <a:lnTo>
                    <a:pt x="234" y="312"/>
                  </a:lnTo>
                  <a:lnTo>
                    <a:pt x="147" y="263"/>
                  </a:lnTo>
                  <a:lnTo>
                    <a:pt x="42" y="289"/>
                  </a:lnTo>
                  <a:lnTo>
                    <a:pt x="8" y="364"/>
                  </a:lnTo>
                  <a:lnTo>
                    <a:pt x="0" y="445"/>
                  </a:lnTo>
                  <a:lnTo>
                    <a:pt x="18" y="519"/>
                  </a:lnTo>
                  <a:lnTo>
                    <a:pt x="14" y="616"/>
                  </a:lnTo>
                  <a:lnTo>
                    <a:pt x="115" y="712"/>
                  </a:lnTo>
                  <a:lnTo>
                    <a:pt x="171" y="720"/>
                  </a:lnTo>
                  <a:lnTo>
                    <a:pt x="237" y="660"/>
                  </a:lnTo>
                  <a:lnTo>
                    <a:pt x="326" y="634"/>
                  </a:lnTo>
                  <a:lnTo>
                    <a:pt x="415" y="636"/>
                  </a:lnTo>
                  <a:lnTo>
                    <a:pt x="607" y="690"/>
                  </a:lnTo>
                  <a:lnTo>
                    <a:pt x="677" y="793"/>
                  </a:lnTo>
                  <a:lnTo>
                    <a:pt x="695" y="913"/>
                  </a:lnTo>
                  <a:lnTo>
                    <a:pt x="760" y="1007"/>
                  </a:lnTo>
                  <a:lnTo>
                    <a:pt x="890" y="1155"/>
                  </a:lnTo>
                  <a:lnTo>
                    <a:pt x="884" y="1203"/>
                  </a:lnTo>
                  <a:lnTo>
                    <a:pt x="929" y="1255"/>
                  </a:lnTo>
                  <a:lnTo>
                    <a:pt x="954" y="1332"/>
                  </a:lnTo>
                  <a:lnTo>
                    <a:pt x="1028" y="1428"/>
                  </a:lnTo>
                  <a:lnTo>
                    <a:pt x="1179" y="1381"/>
                  </a:lnTo>
                  <a:lnTo>
                    <a:pt x="1279" y="1406"/>
                  </a:lnTo>
                  <a:lnTo>
                    <a:pt x="1316" y="1500"/>
                  </a:lnTo>
                  <a:lnTo>
                    <a:pt x="1245" y="1590"/>
                  </a:lnTo>
                  <a:lnTo>
                    <a:pt x="1187" y="1651"/>
                  </a:lnTo>
                  <a:lnTo>
                    <a:pt x="1187" y="1746"/>
                  </a:lnTo>
                  <a:lnTo>
                    <a:pt x="1254" y="1852"/>
                  </a:lnTo>
                  <a:lnTo>
                    <a:pt x="1329" y="1866"/>
                  </a:lnTo>
                  <a:lnTo>
                    <a:pt x="1366" y="1901"/>
                  </a:lnTo>
                  <a:lnTo>
                    <a:pt x="1397" y="1980"/>
                  </a:lnTo>
                  <a:lnTo>
                    <a:pt x="1383" y="2038"/>
                  </a:lnTo>
                  <a:lnTo>
                    <a:pt x="1364" y="2095"/>
                  </a:lnTo>
                  <a:lnTo>
                    <a:pt x="1322" y="2173"/>
                  </a:lnTo>
                  <a:lnTo>
                    <a:pt x="1275" y="2247"/>
                  </a:lnTo>
                  <a:lnTo>
                    <a:pt x="1232" y="2296"/>
                  </a:lnTo>
                  <a:lnTo>
                    <a:pt x="1272" y="2419"/>
                  </a:lnTo>
                  <a:lnTo>
                    <a:pt x="1380" y="2436"/>
                  </a:lnTo>
                  <a:lnTo>
                    <a:pt x="1466" y="2485"/>
                  </a:lnTo>
                  <a:lnTo>
                    <a:pt x="1552" y="2485"/>
                  </a:lnTo>
                  <a:lnTo>
                    <a:pt x="1675" y="2573"/>
                  </a:lnTo>
                  <a:lnTo>
                    <a:pt x="1869" y="2608"/>
                  </a:lnTo>
                  <a:lnTo>
                    <a:pt x="1893" y="2691"/>
                  </a:lnTo>
                  <a:lnTo>
                    <a:pt x="1960" y="2802"/>
                  </a:lnTo>
                  <a:lnTo>
                    <a:pt x="2008" y="2879"/>
                  </a:lnTo>
                  <a:lnTo>
                    <a:pt x="2032" y="2983"/>
                  </a:lnTo>
                  <a:lnTo>
                    <a:pt x="2093" y="3025"/>
                  </a:lnTo>
                  <a:lnTo>
                    <a:pt x="2171" y="2949"/>
                  </a:lnTo>
                  <a:lnTo>
                    <a:pt x="2317" y="2949"/>
                  </a:lnTo>
                  <a:lnTo>
                    <a:pt x="2413" y="2802"/>
                  </a:lnTo>
                  <a:lnTo>
                    <a:pt x="2502" y="2683"/>
                  </a:lnTo>
                  <a:lnTo>
                    <a:pt x="2522" y="2580"/>
                  </a:lnTo>
                  <a:lnTo>
                    <a:pt x="2407" y="2559"/>
                  </a:lnTo>
                  <a:lnTo>
                    <a:pt x="2286" y="2584"/>
                  </a:lnTo>
                  <a:lnTo>
                    <a:pt x="2199" y="2584"/>
                  </a:lnTo>
                  <a:lnTo>
                    <a:pt x="2135" y="2510"/>
                  </a:lnTo>
                  <a:lnTo>
                    <a:pt x="2105" y="2371"/>
                  </a:lnTo>
                  <a:lnTo>
                    <a:pt x="2044" y="2323"/>
                  </a:lnTo>
                  <a:lnTo>
                    <a:pt x="2002" y="2253"/>
                  </a:lnTo>
                  <a:lnTo>
                    <a:pt x="1897" y="2187"/>
                  </a:lnTo>
                  <a:lnTo>
                    <a:pt x="1905" y="2093"/>
                  </a:lnTo>
                  <a:lnTo>
                    <a:pt x="1917" y="2010"/>
                  </a:lnTo>
                  <a:lnTo>
                    <a:pt x="1960" y="1926"/>
                  </a:lnTo>
                  <a:lnTo>
                    <a:pt x="1832" y="1885"/>
                  </a:lnTo>
                  <a:lnTo>
                    <a:pt x="1725" y="1840"/>
                  </a:lnTo>
                  <a:lnTo>
                    <a:pt x="1768" y="1741"/>
                  </a:lnTo>
                  <a:lnTo>
                    <a:pt x="1911" y="1641"/>
                  </a:lnTo>
                  <a:lnTo>
                    <a:pt x="2070" y="1543"/>
                  </a:lnTo>
                  <a:lnTo>
                    <a:pt x="2196" y="1537"/>
                  </a:lnTo>
                  <a:lnTo>
                    <a:pt x="2286" y="1493"/>
                  </a:lnTo>
                  <a:lnTo>
                    <a:pt x="2329" y="1394"/>
                  </a:lnTo>
                  <a:lnTo>
                    <a:pt x="2373" y="1246"/>
                  </a:lnTo>
                  <a:lnTo>
                    <a:pt x="2347" y="1147"/>
                  </a:lnTo>
                  <a:lnTo>
                    <a:pt x="2359" y="1036"/>
                  </a:lnTo>
                  <a:lnTo>
                    <a:pt x="2407" y="897"/>
                  </a:lnTo>
                  <a:lnTo>
                    <a:pt x="2522" y="883"/>
                  </a:lnTo>
                  <a:lnTo>
                    <a:pt x="2625" y="862"/>
                  </a:lnTo>
                  <a:lnTo>
                    <a:pt x="2722" y="848"/>
                  </a:lnTo>
                  <a:lnTo>
                    <a:pt x="2758" y="814"/>
                  </a:lnTo>
                  <a:lnTo>
                    <a:pt x="2758" y="695"/>
                  </a:lnTo>
                  <a:lnTo>
                    <a:pt x="2847" y="551"/>
                  </a:lnTo>
                  <a:lnTo>
                    <a:pt x="2771" y="431"/>
                  </a:lnTo>
                  <a:lnTo>
                    <a:pt x="2680" y="362"/>
                  </a:lnTo>
                  <a:lnTo>
                    <a:pt x="2565" y="292"/>
                  </a:lnTo>
                  <a:lnTo>
                    <a:pt x="2459" y="254"/>
                  </a:lnTo>
                  <a:lnTo>
                    <a:pt x="2373" y="155"/>
                  </a:lnTo>
                  <a:lnTo>
                    <a:pt x="2383" y="56"/>
                  </a:lnTo>
                  <a:lnTo>
                    <a:pt x="2341" y="0"/>
                  </a:lnTo>
                  <a:lnTo>
                    <a:pt x="2238" y="21"/>
                  </a:lnTo>
                  <a:lnTo>
                    <a:pt x="2159" y="97"/>
                  </a:lnTo>
                  <a:lnTo>
                    <a:pt x="2113" y="155"/>
                  </a:lnTo>
                  <a:lnTo>
                    <a:pt x="2075" y="243"/>
                  </a:lnTo>
                  <a:lnTo>
                    <a:pt x="2075" y="334"/>
                  </a:lnTo>
                  <a:lnTo>
                    <a:pt x="2002" y="376"/>
                  </a:lnTo>
                  <a:lnTo>
                    <a:pt x="1941" y="402"/>
                  </a:lnTo>
                  <a:lnTo>
                    <a:pt x="1854" y="353"/>
                  </a:lnTo>
                  <a:lnTo>
                    <a:pt x="1768" y="353"/>
                  </a:lnTo>
                  <a:lnTo>
                    <a:pt x="1596" y="353"/>
                  </a:lnTo>
                  <a:lnTo>
                    <a:pt x="1423" y="303"/>
                  </a:lnTo>
                  <a:lnTo>
                    <a:pt x="1294" y="254"/>
                  </a:lnTo>
                  <a:lnTo>
                    <a:pt x="1164" y="303"/>
                  </a:lnTo>
                  <a:lnTo>
                    <a:pt x="981" y="349"/>
                  </a:lnTo>
                  <a:lnTo>
                    <a:pt x="959" y="429"/>
                  </a:lnTo>
                  <a:lnTo>
                    <a:pt x="899" y="496"/>
                  </a:lnTo>
                  <a:lnTo>
                    <a:pt x="840" y="573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73" name="Freeform 67">
              <a:extLst>
                <a:ext uri="{FF2B5EF4-FFF2-40B4-BE49-F238E27FC236}">
                  <a16:creationId xmlns:a16="http://schemas.microsoft.com/office/drawing/2014/main" id="{DC63378C-16AE-31C3-BFB6-7DB3C8BAD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536" y="2335213"/>
              <a:ext cx="822325" cy="1350962"/>
            </a:xfrm>
            <a:custGeom>
              <a:avLst/>
              <a:gdLst>
                <a:gd name="T0" fmla="*/ 1617 w 2591"/>
                <a:gd name="T1" fmla="*/ 1771 h 4258"/>
                <a:gd name="T2" fmla="*/ 1431 w 2591"/>
                <a:gd name="T3" fmla="*/ 1555 h 4258"/>
                <a:gd name="T4" fmla="*/ 1227 w 2591"/>
                <a:gd name="T5" fmla="*/ 1375 h 4258"/>
                <a:gd name="T6" fmla="*/ 1287 w 2591"/>
                <a:gd name="T7" fmla="*/ 1114 h 4258"/>
                <a:gd name="T8" fmla="*/ 1101 w 2591"/>
                <a:gd name="T9" fmla="*/ 925 h 4258"/>
                <a:gd name="T10" fmla="*/ 1531 w 2591"/>
                <a:gd name="T11" fmla="*/ 723 h 4258"/>
                <a:gd name="T12" fmla="*/ 1699 w 2591"/>
                <a:gd name="T13" fmla="*/ 428 h 4258"/>
                <a:gd name="T14" fmla="*/ 1737 w 2591"/>
                <a:gd name="T15" fmla="*/ 85 h 4258"/>
                <a:gd name="T16" fmla="*/ 2050 w 2591"/>
                <a:gd name="T17" fmla="*/ 36 h 4258"/>
                <a:gd name="T18" fmla="*/ 2277 w 2591"/>
                <a:gd name="T19" fmla="*/ 61 h 4258"/>
                <a:gd name="T20" fmla="*/ 2359 w 2591"/>
                <a:gd name="T21" fmla="*/ 456 h 4258"/>
                <a:gd name="T22" fmla="*/ 2338 w 2591"/>
                <a:gd name="T23" fmla="*/ 934 h 4258"/>
                <a:gd name="T24" fmla="*/ 2467 w 2591"/>
                <a:gd name="T25" fmla="*/ 1228 h 4258"/>
                <a:gd name="T26" fmla="*/ 2462 w 2591"/>
                <a:gd name="T27" fmla="*/ 1480 h 4258"/>
                <a:gd name="T28" fmla="*/ 2524 w 2591"/>
                <a:gd name="T29" fmla="*/ 1613 h 4258"/>
                <a:gd name="T30" fmla="*/ 2548 w 2591"/>
                <a:gd name="T31" fmla="*/ 1827 h 4258"/>
                <a:gd name="T32" fmla="*/ 2332 w 2591"/>
                <a:gd name="T33" fmla="*/ 1877 h 4258"/>
                <a:gd name="T34" fmla="*/ 2160 w 2591"/>
                <a:gd name="T35" fmla="*/ 2026 h 4258"/>
                <a:gd name="T36" fmla="*/ 2160 w 2591"/>
                <a:gd name="T37" fmla="*/ 2174 h 4258"/>
                <a:gd name="T38" fmla="*/ 2117 w 2591"/>
                <a:gd name="T39" fmla="*/ 2323 h 4258"/>
                <a:gd name="T40" fmla="*/ 2030 w 2591"/>
                <a:gd name="T41" fmla="*/ 2422 h 4258"/>
                <a:gd name="T42" fmla="*/ 2030 w 2591"/>
                <a:gd name="T43" fmla="*/ 2621 h 4258"/>
                <a:gd name="T44" fmla="*/ 2117 w 2591"/>
                <a:gd name="T45" fmla="*/ 2770 h 4258"/>
                <a:gd name="T46" fmla="*/ 2289 w 2591"/>
                <a:gd name="T47" fmla="*/ 2819 h 4258"/>
                <a:gd name="T48" fmla="*/ 2375 w 2591"/>
                <a:gd name="T49" fmla="*/ 3017 h 4258"/>
                <a:gd name="T50" fmla="*/ 2419 w 2591"/>
                <a:gd name="T51" fmla="*/ 3117 h 4258"/>
                <a:gd name="T52" fmla="*/ 2375 w 2591"/>
                <a:gd name="T53" fmla="*/ 3266 h 4258"/>
                <a:gd name="T54" fmla="*/ 2246 w 2591"/>
                <a:gd name="T55" fmla="*/ 3365 h 4258"/>
                <a:gd name="T56" fmla="*/ 2332 w 2591"/>
                <a:gd name="T57" fmla="*/ 3514 h 4258"/>
                <a:gd name="T58" fmla="*/ 2505 w 2591"/>
                <a:gd name="T59" fmla="*/ 3663 h 4258"/>
                <a:gd name="T60" fmla="*/ 2548 w 2591"/>
                <a:gd name="T61" fmla="*/ 3812 h 4258"/>
                <a:gd name="T62" fmla="*/ 2505 w 2591"/>
                <a:gd name="T63" fmla="*/ 4010 h 4258"/>
                <a:gd name="T64" fmla="*/ 2324 w 2591"/>
                <a:gd name="T65" fmla="*/ 4119 h 4258"/>
                <a:gd name="T66" fmla="*/ 2043 w 2591"/>
                <a:gd name="T67" fmla="*/ 4150 h 4258"/>
                <a:gd name="T68" fmla="*/ 1870 w 2591"/>
                <a:gd name="T69" fmla="*/ 3983 h 4258"/>
                <a:gd name="T70" fmla="*/ 1642 w 2591"/>
                <a:gd name="T71" fmla="*/ 3812 h 4258"/>
                <a:gd name="T72" fmla="*/ 1426 w 2591"/>
                <a:gd name="T73" fmla="*/ 3812 h 4258"/>
                <a:gd name="T74" fmla="*/ 1298 w 2591"/>
                <a:gd name="T75" fmla="*/ 3889 h 4258"/>
                <a:gd name="T76" fmla="*/ 1210 w 2591"/>
                <a:gd name="T77" fmla="*/ 4109 h 4258"/>
                <a:gd name="T78" fmla="*/ 1038 w 2591"/>
                <a:gd name="T79" fmla="*/ 4208 h 4258"/>
                <a:gd name="T80" fmla="*/ 865 w 2591"/>
                <a:gd name="T81" fmla="*/ 4159 h 4258"/>
                <a:gd name="T82" fmla="*/ 690 w 2591"/>
                <a:gd name="T83" fmla="*/ 3973 h 4258"/>
                <a:gd name="T84" fmla="*/ 564 w 2591"/>
                <a:gd name="T85" fmla="*/ 3713 h 4258"/>
                <a:gd name="T86" fmla="*/ 433 w 2591"/>
                <a:gd name="T87" fmla="*/ 3564 h 4258"/>
                <a:gd name="T88" fmla="*/ 347 w 2591"/>
                <a:gd name="T89" fmla="*/ 3365 h 4258"/>
                <a:gd name="T90" fmla="*/ 261 w 2591"/>
                <a:gd name="T91" fmla="*/ 3117 h 4258"/>
                <a:gd name="T92" fmla="*/ 89 w 2591"/>
                <a:gd name="T93" fmla="*/ 2918 h 4258"/>
                <a:gd name="T94" fmla="*/ 27 w 2591"/>
                <a:gd name="T95" fmla="*/ 2877 h 4258"/>
                <a:gd name="T96" fmla="*/ 95 w 2591"/>
                <a:gd name="T97" fmla="*/ 2610 h 4258"/>
                <a:gd name="T98" fmla="*/ 86 w 2591"/>
                <a:gd name="T99" fmla="*/ 2304 h 4258"/>
                <a:gd name="T100" fmla="*/ 82 w 2591"/>
                <a:gd name="T101" fmla="*/ 2125 h 4258"/>
                <a:gd name="T102" fmla="*/ 107 w 2591"/>
                <a:gd name="T103" fmla="*/ 1892 h 4258"/>
                <a:gd name="T104" fmla="*/ 433 w 2591"/>
                <a:gd name="T105" fmla="*/ 1628 h 4258"/>
                <a:gd name="T106" fmla="*/ 704 w 2591"/>
                <a:gd name="T107" fmla="*/ 1619 h 4258"/>
                <a:gd name="T108" fmla="*/ 1005 w 2591"/>
                <a:gd name="T109" fmla="*/ 1759 h 4258"/>
                <a:gd name="T110" fmla="*/ 1336 w 2591"/>
                <a:gd name="T111" fmla="*/ 2064 h 4258"/>
                <a:gd name="T112" fmla="*/ 1501 w 2591"/>
                <a:gd name="T113" fmla="*/ 2137 h 4258"/>
                <a:gd name="T114" fmla="*/ 1833 w 2591"/>
                <a:gd name="T115" fmla="*/ 1872 h 4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91" h="4258">
                  <a:moveTo>
                    <a:pt x="1851" y="1767"/>
                  </a:moveTo>
                  <a:lnTo>
                    <a:pt x="1741" y="1747"/>
                  </a:lnTo>
                  <a:lnTo>
                    <a:pt x="1617" y="1771"/>
                  </a:lnTo>
                  <a:lnTo>
                    <a:pt x="1527" y="1769"/>
                  </a:lnTo>
                  <a:lnTo>
                    <a:pt x="1463" y="1696"/>
                  </a:lnTo>
                  <a:lnTo>
                    <a:pt x="1431" y="1555"/>
                  </a:lnTo>
                  <a:lnTo>
                    <a:pt x="1368" y="1501"/>
                  </a:lnTo>
                  <a:lnTo>
                    <a:pt x="1329" y="1435"/>
                  </a:lnTo>
                  <a:lnTo>
                    <a:pt x="1227" y="1375"/>
                  </a:lnTo>
                  <a:lnTo>
                    <a:pt x="1232" y="1274"/>
                  </a:lnTo>
                  <a:lnTo>
                    <a:pt x="1248" y="1198"/>
                  </a:lnTo>
                  <a:lnTo>
                    <a:pt x="1287" y="1114"/>
                  </a:lnTo>
                  <a:lnTo>
                    <a:pt x="1164" y="1071"/>
                  </a:lnTo>
                  <a:lnTo>
                    <a:pt x="1051" y="1029"/>
                  </a:lnTo>
                  <a:lnTo>
                    <a:pt x="1101" y="925"/>
                  </a:lnTo>
                  <a:lnTo>
                    <a:pt x="1243" y="828"/>
                  </a:lnTo>
                  <a:lnTo>
                    <a:pt x="1393" y="730"/>
                  </a:lnTo>
                  <a:lnTo>
                    <a:pt x="1531" y="723"/>
                  </a:lnTo>
                  <a:lnTo>
                    <a:pt x="1618" y="679"/>
                  </a:lnTo>
                  <a:lnTo>
                    <a:pt x="1657" y="575"/>
                  </a:lnTo>
                  <a:lnTo>
                    <a:pt x="1699" y="428"/>
                  </a:lnTo>
                  <a:lnTo>
                    <a:pt x="1673" y="329"/>
                  </a:lnTo>
                  <a:lnTo>
                    <a:pt x="1687" y="223"/>
                  </a:lnTo>
                  <a:lnTo>
                    <a:pt x="1737" y="85"/>
                  </a:lnTo>
                  <a:lnTo>
                    <a:pt x="1851" y="72"/>
                  </a:lnTo>
                  <a:lnTo>
                    <a:pt x="1975" y="45"/>
                  </a:lnTo>
                  <a:lnTo>
                    <a:pt x="2050" y="36"/>
                  </a:lnTo>
                  <a:lnTo>
                    <a:pt x="2089" y="0"/>
                  </a:lnTo>
                  <a:lnTo>
                    <a:pt x="2170" y="6"/>
                  </a:lnTo>
                  <a:lnTo>
                    <a:pt x="2277" y="61"/>
                  </a:lnTo>
                  <a:lnTo>
                    <a:pt x="2335" y="139"/>
                  </a:lnTo>
                  <a:lnTo>
                    <a:pt x="2310" y="300"/>
                  </a:lnTo>
                  <a:lnTo>
                    <a:pt x="2359" y="456"/>
                  </a:lnTo>
                  <a:lnTo>
                    <a:pt x="2389" y="601"/>
                  </a:lnTo>
                  <a:lnTo>
                    <a:pt x="2337" y="679"/>
                  </a:lnTo>
                  <a:lnTo>
                    <a:pt x="2338" y="934"/>
                  </a:lnTo>
                  <a:lnTo>
                    <a:pt x="2385" y="1036"/>
                  </a:lnTo>
                  <a:lnTo>
                    <a:pt x="2439" y="1066"/>
                  </a:lnTo>
                  <a:lnTo>
                    <a:pt x="2467" y="1228"/>
                  </a:lnTo>
                  <a:lnTo>
                    <a:pt x="2505" y="1282"/>
                  </a:lnTo>
                  <a:lnTo>
                    <a:pt x="2462" y="1381"/>
                  </a:lnTo>
                  <a:lnTo>
                    <a:pt x="2462" y="1480"/>
                  </a:lnTo>
                  <a:lnTo>
                    <a:pt x="2462" y="1480"/>
                  </a:lnTo>
                  <a:lnTo>
                    <a:pt x="2462" y="1530"/>
                  </a:lnTo>
                  <a:lnTo>
                    <a:pt x="2524" y="1613"/>
                  </a:lnTo>
                  <a:lnTo>
                    <a:pt x="2569" y="1707"/>
                  </a:lnTo>
                  <a:lnTo>
                    <a:pt x="2548" y="1778"/>
                  </a:lnTo>
                  <a:lnTo>
                    <a:pt x="2548" y="1827"/>
                  </a:lnTo>
                  <a:lnTo>
                    <a:pt x="2462" y="1877"/>
                  </a:lnTo>
                  <a:lnTo>
                    <a:pt x="2375" y="1877"/>
                  </a:lnTo>
                  <a:lnTo>
                    <a:pt x="2332" y="1877"/>
                  </a:lnTo>
                  <a:lnTo>
                    <a:pt x="2260" y="1947"/>
                  </a:lnTo>
                  <a:lnTo>
                    <a:pt x="2188" y="1958"/>
                  </a:lnTo>
                  <a:lnTo>
                    <a:pt x="2160" y="2026"/>
                  </a:lnTo>
                  <a:lnTo>
                    <a:pt x="2160" y="2125"/>
                  </a:lnTo>
                  <a:lnTo>
                    <a:pt x="2117" y="2125"/>
                  </a:lnTo>
                  <a:lnTo>
                    <a:pt x="2160" y="2174"/>
                  </a:lnTo>
                  <a:lnTo>
                    <a:pt x="2117" y="2224"/>
                  </a:lnTo>
                  <a:lnTo>
                    <a:pt x="2117" y="2274"/>
                  </a:lnTo>
                  <a:lnTo>
                    <a:pt x="2117" y="2323"/>
                  </a:lnTo>
                  <a:lnTo>
                    <a:pt x="2074" y="2373"/>
                  </a:lnTo>
                  <a:lnTo>
                    <a:pt x="2117" y="2422"/>
                  </a:lnTo>
                  <a:lnTo>
                    <a:pt x="2030" y="2422"/>
                  </a:lnTo>
                  <a:lnTo>
                    <a:pt x="2030" y="2472"/>
                  </a:lnTo>
                  <a:lnTo>
                    <a:pt x="2030" y="2522"/>
                  </a:lnTo>
                  <a:lnTo>
                    <a:pt x="2030" y="2621"/>
                  </a:lnTo>
                  <a:lnTo>
                    <a:pt x="2030" y="2670"/>
                  </a:lnTo>
                  <a:lnTo>
                    <a:pt x="2074" y="2720"/>
                  </a:lnTo>
                  <a:lnTo>
                    <a:pt x="2117" y="2770"/>
                  </a:lnTo>
                  <a:lnTo>
                    <a:pt x="2203" y="2770"/>
                  </a:lnTo>
                  <a:lnTo>
                    <a:pt x="2246" y="2770"/>
                  </a:lnTo>
                  <a:lnTo>
                    <a:pt x="2289" y="2819"/>
                  </a:lnTo>
                  <a:lnTo>
                    <a:pt x="2332" y="2869"/>
                  </a:lnTo>
                  <a:lnTo>
                    <a:pt x="2375" y="2968"/>
                  </a:lnTo>
                  <a:lnTo>
                    <a:pt x="2375" y="3017"/>
                  </a:lnTo>
                  <a:lnTo>
                    <a:pt x="2419" y="3017"/>
                  </a:lnTo>
                  <a:lnTo>
                    <a:pt x="2419" y="3067"/>
                  </a:lnTo>
                  <a:lnTo>
                    <a:pt x="2419" y="3117"/>
                  </a:lnTo>
                  <a:lnTo>
                    <a:pt x="2419" y="3166"/>
                  </a:lnTo>
                  <a:lnTo>
                    <a:pt x="2375" y="3217"/>
                  </a:lnTo>
                  <a:lnTo>
                    <a:pt x="2375" y="3266"/>
                  </a:lnTo>
                  <a:lnTo>
                    <a:pt x="2332" y="3266"/>
                  </a:lnTo>
                  <a:lnTo>
                    <a:pt x="2279" y="3315"/>
                  </a:lnTo>
                  <a:lnTo>
                    <a:pt x="2246" y="3365"/>
                  </a:lnTo>
                  <a:lnTo>
                    <a:pt x="2246" y="3415"/>
                  </a:lnTo>
                  <a:lnTo>
                    <a:pt x="2289" y="3465"/>
                  </a:lnTo>
                  <a:lnTo>
                    <a:pt x="2332" y="3514"/>
                  </a:lnTo>
                  <a:lnTo>
                    <a:pt x="2419" y="3564"/>
                  </a:lnTo>
                  <a:lnTo>
                    <a:pt x="2462" y="3613"/>
                  </a:lnTo>
                  <a:lnTo>
                    <a:pt x="2505" y="3663"/>
                  </a:lnTo>
                  <a:lnTo>
                    <a:pt x="2505" y="3713"/>
                  </a:lnTo>
                  <a:lnTo>
                    <a:pt x="2548" y="3762"/>
                  </a:lnTo>
                  <a:lnTo>
                    <a:pt x="2548" y="3812"/>
                  </a:lnTo>
                  <a:lnTo>
                    <a:pt x="2591" y="3911"/>
                  </a:lnTo>
                  <a:lnTo>
                    <a:pt x="2591" y="3960"/>
                  </a:lnTo>
                  <a:lnTo>
                    <a:pt x="2505" y="4010"/>
                  </a:lnTo>
                  <a:lnTo>
                    <a:pt x="2462" y="4010"/>
                  </a:lnTo>
                  <a:lnTo>
                    <a:pt x="2419" y="4060"/>
                  </a:lnTo>
                  <a:lnTo>
                    <a:pt x="2324" y="4119"/>
                  </a:lnTo>
                  <a:lnTo>
                    <a:pt x="2203" y="4159"/>
                  </a:lnTo>
                  <a:lnTo>
                    <a:pt x="2160" y="4159"/>
                  </a:lnTo>
                  <a:lnTo>
                    <a:pt x="2043" y="4150"/>
                  </a:lnTo>
                  <a:lnTo>
                    <a:pt x="1987" y="4109"/>
                  </a:lnTo>
                  <a:lnTo>
                    <a:pt x="1888" y="4067"/>
                  </a:lnTo>
                  <a:lnTo>
                    <a:pt x="1870" y="3983"/>
                  </a:lnTo>
                  <a:lnTo>
                    <a:pt x="1816" y="3910"/>
                  </a:lnTo>
                  <a:lnTo>
                    <a:pt x="1728" y="3812"/>
                  </a:lnTo>
                  <a:lnTo>
                    <a:pt x="1642" y="3812"/>
                  </a:lnTo>
                  <a:lnTo>
                    <a:pt x="1598" y="3861"/>
                  </a:lnTo>
                  <a:lnTo>
                    <a:pt x="1512" y="3861"/>
                  </a:lnTo>
                  <a:lnTo>
                    <a:pt x="1426" y="3812"/>
                  </a:lnTo>
                  <a:lnTo>
                    <a:pt x="1340" y="3812"/>
                  </a:lnTo>
                  <a:lnTo>
                    <a:pt x="1340" y="3812"/>
                  </a:lnTo>
                  <a:lnTo>
                    <a:pt x="1298" y="3889"/>
                  </a:lnTo>
                  <a:lnTo>
                    <a:pt x="1297" y="4010"/>
                  </a:lnTo>
                  <a:lnTo>
                    <a:pt x="1254" y="4060"/>
                  </a:lnTo>
                  <a:lnTo>
                    <a:pt x="1210" y="4109"/>
                  </a:lnTo>
                  <a:lnTo>
                    <a:pt x="1167" y="4109"/>
                  </a:lnTo>
                  <a:lnTo>
                    <a:pt x="1124" y="4109"/>
                  </a:lnTo>
                  <a:lnTo>
                    <a:pt x="1038" y="4208"/>
                  </a:lnTo>
                  <a:lnTo>
                    <a:pt x="995" y="4208"/>
                  </a:lnTo>
                  <a:lnTo>
                    <a:pt x="909" y="4258"/>
                  </a:lnTo>
                  <a:lnTo>
                    <a:pt x="865" y="4159"/>
                  </a:lnTo>
                  <a:lnTo>
                    <a:pt x="822" y="4109"/>
                  </a:lnTo>
                  <a:lnTo>
                    <a:pt x="779" y="4060"/>
                  </a:lnTo>
                  <a:lnTo>
                    <a:pt x="690" y="3973"/>
                  </a:lnTo>
                  <a:lnTo>
                    <a:pt x="608" y="3920"/>
                  </a:lnTo>
                  <a:lnTo>
                    <a:pt x="564" y="3812"/>
                  </a:lnTo>
                  <a:lnTo>
                    <a:pt x="564" y="3713"/>
                  </a:lnTo>
                  <a:lnTo>
                    <a:pt x="564" y="3613"/>
                  </a:lnTo>
                  <a:lnTo>
                    <a:pt x="517" y="3576"/>
                  </a:lnTo>
                  <a:lnTo>
                    <a:pt x="433" y="3564"/>
                  </a:lnTo>
                  <a:lnTo>
                    <a:pt x="433" y="3514"/>
                  </a:lnTo>
                  <a:lnTo>
                    <a:pt x="354" y="3461"/>
                  </a:lnTo>
                  <a:lnTo>
                    <a:pt x="347" y="3365"/>
                  </a:lnTo>
                  <a:lnTo>
                    <a:pt x="304" y="3316"/>
                  </a:lnTo>
                  <a:lnTo>
                    <a:pt x="281" y="3231"/>
                  </a:lnTo>
                  <a:lnTo>
                    <a:pt x="261" y="3117"/>
                  </a:lnTo>
                  <a:lnTo>
                    <a:pt x="175" y="2968"/>
                  </a:lnTo>
                  <a:lnTo>
                    <a:pt x="132" y="2968"/>
                  </a:lnTo>
                  <a:lnTo>
                    <a:pt x="89" y="2918"/>
                  </a:lnTo>
                  <a:lnTo>
                    <a:pt x="45" y="2968"/>
                  </a:lnTo>
                  <a:lnTo>
                    <a:pt x="0" y="2978"/>
                  </a:lnTo>
                  <a:lnTo>
                    <a:pt x="27" y="2877"/>
                  </a:lnTo>
                  <a:lnTo>
                    <a:pt x="4" y="2771"/>
                  </a:lnTo>
                  <a:lnTo>
                    <a:pt x="45" y="2675"/>
                  </a:lnTo>
                  <a:lnTo>
                    <a:pt x="95" y="2610"/>
                  </a:lnTo>
                  <a:lnTo>
                    <a:pt x="117" y="2536"/>
                  </a:lnTo>
                  <a:lnTo>
                    <a:pt x="54" y="2381"/>
                  </a:lnTo>
                  <a:lnTo>
                    <a:pt x="86" y="2304"/>
                  </a:lnTo>
                  <a:lnTo>
                    <a:pt x="106" y="2245"/>
                  </a:lnTo>
                  <a:lnTo>
                    <a:pt x="118" y="2181"/>
                  </a:lnTo>
                  <a:lnTo>
                    <a:pt x="82" y="2125"/>
                  </a:lnTo>
                  <a:lnTo>
                    <a:pt x="10" y="2034"/>
                  </a:lnTo>
                  <a:lnTo>
                    <a:pt x="63" y="1974"/>
                  </a:lnTo>
                  <a:lnTo>
                    <a:pt x="107" y="1892"/>
                  </a:lnTo>
                  <a:lnTo>
                    <a:pt x="167" y="1834"/>
                  </a:lnTo>
                  <a:lnTo>
                    <a:pt x="260" y="1728"/>
                  </a:lnTo>
                  <a:lnTo>
                    <a:pt x="433" y="1628"/>
                  </a:lnTo>
                  <a:lnTo>
                    <a:pt x="520" y="1629"/>
                  </a:lnTo>
                  <a:lnTo>
                    <a:pt x="598" y="1603"/>
                  </a:lnTo>
                  <a:lnTo>
                    <a:pt x="704" y="1619"/>
                  </a:lnTo>
                  <a:lnTo>
                    <a:pt x="798" y="1675"/>
                  </a:lnTo>
                  <a:lnTo>
                    <a:pt x="886" y="1675"/>
                  </a:lnTo>
                  <a:lnTo>
                    <a:pt x="1005" y="1759"/>
                  </a:lnTo>
                  <a:lnTo>
                    <a:pt x="1194" y="1791"/>
                  </a:lnTo>
                  <a:lnTo>
                    <a:pt x="1220" y="1877"/>
                  </a:lnTo>
                  <a:lnTo>
                    <a:pt x="1336" y="2064"/>
                  </a:lnTo>
                  <a:lnTo>
                    <a:pt x="1357" y="2166"/>
                  </a:lnTo>
                  <a:lnTo>
                    <a:pt x="1423" y="2212"/>
                  </a:lnTo>
                  <a:lnTo>
                    <a:pt x="1501" y="2137"/>
                  </a:lnTo>
                  <a:lnTo>
                    <a:pt x="1647" y="2136"/>
                  </a:lnTo>
                  <a:lnTo>
                    <a:pt x="1735" y="1999"/>
                  </a:lnTo>
                  <a:lnTo>
                    <a:pt x="1833" y="1872"/>
                  </a:lnTo>
                  <a:lnTo>
                    <a:pt x="1851" y="1767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74" name="Freeform 68">
              <a:extLst>
                <a:ext uri="{FF2B5EF4-FFF2-40B4-BE49-F238E27FC236}">
                  <a16:creationId xmlns:a16="http://schemas.microsoft.com/office/drawing/2014/main" id="{7098DD52-D1EC-ADE9-40F4-AC16A1CA3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773" y="1925638"/>
              <a:ext cx="1025525" cy="1295400"/>
            </a:xfrm>
            <a:custGeom>
              <a:avLst/>
              <a:gdLst>
                <a:gd name="T0" fmla="*/ 2276 w 3231"/>
                <a:gd name="T1" fmla="*/ 4036 h 4080"/>
                <a:gd name="T2" fmla="*/ 2352 w 3231"/>
                <a:gd name="T3" fmla="*/ 3865 h 4080"/>
                <a:gd name="T4" fmla="*/ 2340 w 3231"/>
                <a:gd name="T5" fmla="*/ 3685 h 4080"/>
                <a:gd name="T6" fmla="*/ 2449 w 3231"/>
                <a:gd name="T7" fmla="*/ 3493 h 4080"/>
                <a:gd name="T8" fmla="*/ 2607 w 3231"/>
                <a:gd name="T9" fmla="*/ 3407 h 4080"/>
                <a:gd name="T10" fmla="*/ 2794 w 3231"/>
                <a:gd name="T11" fmla="*/ 3146 h 4080"/>
                <a:gd name="T12" fmla="*/ 2838 w 3231"/>
                <a:gd name="T13" fmla="*/ 2898 h 4080"/>
                <a:gd name="T14" fmla="*/ 2924 w 3231"/>
                <a:gd name="T15" fmla="*/ 2652 h 4080"/>
                <a:gd name="T16" fmla="*/ 2924 w 3231"/>
                <a:gd name="T17" fmla="*/ 2404 h 4080"/>
                <a:gd name="T18" fmla="*/ 2873 w 3231"/>
                <a:gd name="T19" fmla="*/ 2206 h 4080"/>
                <a:gd name="T20" fmla="*/ 2881 w 3231"/>
                <a:gd name="T21" fmla="*/ 2008 h 4080"/>
                <a:gd name="T22" fmla="*/ 2892 w 3231"/>
                <a:gd name="T23" fmla="*/ 1631 h 4080"/>
                <a:gd name="T24" fmla="*/ 2967 w 3231"/>
                <a:gd name="T25" fmla="*/ 1365 h 4080"/>
                <a:gd name="T26" fmla="*/ 3104 w 3231"/>
                <a:gd name="T27" fmla="*/ 1131 h 4080"/>
                <a:gd name="T28" fmla="*/ 3231 w 3231"/>
                <a:gd name="T29" fmla="*/ 867 h 4080"/>
                <a:gd name="T30" fmla="*/ 3025 w 3231"/>
                <a:gd name="T31" fmla="*/ 597 h 4080"/>
                <a:gd name="T32" fmla="*/ 3130 w 3231"/>
                <a:gd name="T33" fmla="*/ 370 h 4080"/>
                <a:gd name="T34" fmla="*/ 2924 w 3231"/>
                <a:gd name="T35" fmla="*/ 375 h 4080"/>
                <a:gd name="T36" fmla="*/ 2622 w 3231"/>
                <a:gd name="T37" fmla="*/ 326 h 4080"/>
                <a:gd name="T38" fmla="*/ 2298 w 3231"/>
                <a:gd name="T39" fmla="*/ 152 h 4080"/>
                <a:gd name="T40" fmla="*/ 1930 w 3231"/>
                <a:gd name="T41" fmla="*/ 30 h 4080"/>
                <a:gd name="T42" fmla="*/ 1628 w 3231"/>
                <a:gd name="T43" fmla="*/ 30 h 4080"/>
                <a:gd name="T44" fmla="*/ 1322 w 3231"/>
                <a:gd name="T45" fmla="*/ 49 h 4080"/>
                <a:gd name="T46" fmla="*/ 1098 w 3231"/>
                <a:gd name="T47" fmla="*/ 104 h 4080"/>
                <a:gd name="T48" fmla="*/ 904 w 3231"/>
                <a:gd name="T49" fmla="*/ 111 h 4080"/>
                <a:gd name="T50" fmla="*/ 677 w 3231"/>
                <a:gd name="T51" fmla="*/ 129 h 4080"/>
                <a:gd name="T52" fmla="*/ 332 w 3231"/>
                <a:gd name="T53" fmla="*/ 277 h 4080"/>
                <a:gd name="T54" fmla="*/ 202 w 3231"/>
                <a:gd name="T55" fmla="*/ 524 h 4080"/>
                <a:gd name="T56" fmla="*/ 0 w 3231"/>
                <a:gd name="T57" fmla="*/ 825 h 4080"/>
                <a:gd name="T58" fmla="*/ 146 w 3231"/>
                <a:gd name="T59" fmla="*/ 848 h 4080"/>
                <a:gd name="T60" fmla="*/ 220 w 3231"/>
                <a:gd name="T61" fmla="*/ 716 h 4080"/>
                <a:gd name="T62" fmla="*/ 302 w 3231"/>
                <a:gd name="T63" fmla="*/ 570 h 4080"/>
                <a:gd name="T64" fmla="*/ 484 w 3231"/>
                <a:gd name="T65" fmla="*/ 472 h 4080"/>
                <a:gd name="T66" fmla="*/ 518 w 3231"/>
                <a:gd name="T67" fmla="*/ 626 h 4080"/>
                <a:gd name="T68" fmla="*/ 709 w 3231"/>
                <a:gd name="T69" fmla="*/ 764 h 4080"/>
                <a:gd name="T70" fmla="*/ 916 w 3231"/>
                <a:gd name="T71" fmla="*/ 901 h 4080"/>
                <a:gd name="T72" fmla="*/ 904 w 3231"/>
                <a:gd name="T73" fmla="*/ 1164 h 4080"/>
                <a:gd name="T74" fmla="*/ 991 w 3231"/>
                <a:gd name="T75" fmla="*/ 1296 h 4080"/>
                <a:gd name="T76" fmla="*/ 1152 w 3231"/>
                <a:gd name="T77" fmla="*/ 1428 h 4080"/>
                <a:gd name="T78" fmla="*/ 1175 w 3231"/>
                <a:gd name="T79" fmla="*/ 1746 h 4080"/>
                <a:gd name="T80" fmla="*/ 1152 w 3231"/>
                <a:gd name="T81" fmla="*/ 1971 h 4080"/>
                <a:gd name="T82" fmla="*/ 1198 w 3231"/>
                <a:gd name="T83" fmla="*/ 2323 h 4080"/>
                <a:gd name="T84" fmla="*/ 1281 w 3231"/>
                <a:gd name="T85" fmla="*/ 2517 h 4080"/>
                <a:gd name="T86" fmla="*/ 1275 w 3231"/>
                <a:gd name="T87" fmla="*/ 2671 h 4080"/>
                <a:gd name="T88" fmla="*/ 1338 w 3231"/>
                <a:gd name="T89" fmla="*/ 2902 h 4080"/>
                <a:gd name="T90" fmla="*/ 1443 w 3231"/>
                <a:gd name="T91" fmla="*/ 2921 h 4080"/>
                <a:gd name="T92" fmla="*/ 1607 w 3231"/>
                <a:gd name="T93" fmla="*/ 2928 h 4080"/>
                <a:gd name="T94" fmla="*/ 1714 w 3231"/>
                <a:gd name="T95" fmla="*/ 2997 h 4080"/>
                <a:gd name="T96" fmla="*/ 1855 w 3231"/>
                <a:gd name="T97" fmla="*/ 3101 h 4080"/>
                <a:gd name="T98" fmla="*/ 1930 w 3231"/>
                <a:gd name="T99" fmla="*/ 3394 h 4080"/>
                <a:gd name="T100" fmla="*/ 1976 w 3231"/>
                <a:gd name="T101" fmla="*/ 3588 h 4080"/>
                <a:gd name="T102" fmla="*/ 2055 w 3231"/>
                <a:gd name="T103" fmla="*/ 3831 h 4080"/>
                <a:gd name="T104" fmla="*/ 2122 w 3231"/>
                <a:gd name="T105" fmla="*/ 4046 h 4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31" h="4080">
                  <a:moveTo>
                    <a:pt x="2207" y="4080"/>
                  </a:moveTo>
                  <a:lnTo>
                    <a:pt x="2276" y="4036"/>
                  </a:lnTo>
                  <a:lnTo>
                    <a:pt x="2322" y="3949"/>
                  </a:lnTo>
                  <a:lnTo>
                    <a:pt x="2352" y="3865"/>
                  </a:lnTo>
                  <a:lnTo>
                    <a:pt x="2376" y="3789"/>
                  </a:lnTo>
                  <a:lnTo>
                    <a:pt x="2340" y="3685"/>
                  </a:lnTo>
                  <a:lnTo>
                    <a:pt x="2352" y="3559"/>
                  </a:lnTo>
                  <a:lnTo>
                    <a:pt x="2449" y="3493"/>
                  </a:lnTo>
                  <a:lnTo>
                    <a:pt x="2528" y="3462"/>
                  </a:lnTo>
                  <a:lnTo>
                    <a:pt x="2607" y="3407"/>
                  </a:lnTo>
                  <a:lnTo>
                    <a:pt x="2708" y="3245"/>
                  </a:lnTo>
                  <a:lnTo>
                    <a:pt x="2794" y="3146"/>
                  </a:lnTo>
                  <a:lnTo>
                    <a:pt x="2838" y="2997"/>
                  </a:lnTo>
                  <a:lnTo>
                    <a:pt x="2838" y="2898"/>
                  </a:lnTo>
                  <a:lnTo>
                    <a:pt x="2881" y="2800"/>
                  </a:lnTo>
                  <a:lnTo>
                    <a:pt x="2924" y="2652"/>
                  </a:lnTo>
                  <a:lnTo>
                    <a:pt x="2910" y="2539"/>
                  </a:lnTo>
                  <a:lnTo>
                    <a:pt x="2924" y="2404"/>
                  </a:lnTo>
                  <a:lnTo>
                    <a:pt x="2916" y="2276"/>
                  </a:lnTo>
                  <a:lnTo>
                    <a:pt x="2873" y="2206"/>
                  </a:lnTo>
                  <a:lnTo>
                    <a:pt x="2881" y="2108"/>
                  </a:lnTo>
                  <a:lnTo>
                    <a:pt x="2881" y="2008"/>
                  </a:lnTo>
                  <a:lnTo>
                    <a:pt x="2910" y="1845"/>
                  </a:lnTo>
                  <a:lnTo>
                    <a:pt x="2892" y="1631"/>
                  </a:lnTo>
                  <a:lnTo>
                    <a:pt x="2904" y="1513"/>
                  </a:lnTo>
                  <a:lnTo>
                    <a:pt x="2967" y="1365"/>
                  </a:lnTo>
                  <a:lnTo>
                    <a:pt x="3010" y="1217"/>
                  </a:lnTo>
                  <a:lnTo>
                    <a:pt x="3104" y="1131"/>
                  </a:lnTo>
                  <a:lnTo>
                    <a:pt x="3182" y="1013"/>
                  </a:lnTo>
                  <a:lnTo>
                    <a:pt x="3231" y="867"/>
                  </a:lnTo>
                  <a:lnTo>
                    <a:pt x="3140" y="728"/>
                  </a:lnTo>
                  <a:lnTo>
                    <a:pt x="3025" y="597"/>
                  </a:lnTo>
                  <a:lnTo>
                    <a:pt x="3067" y="486"/>
                  </a:lnTo>
                  <a:lnTo>
                    <a:pt x="3130" y="370"/>
                  </a:lnTo>
                  <a:lnTo>
                    <a:pt x="3043" y="354"/>
                  </a:lnTo>
                  <a:lnTo>
                    <a:pt x="2924" y="375"/>
                  </a:lnTo>
                  <a:lnTo>
                    <a:pt x="2751" y="425"/>
                  </a:lnTo>
                  <a:lnTo>
                    <a:pt x="2622" y="326"/>
                  </a:lnTo>
                  <a:lnTo>
                    <a:pt x="2449" y="249"/>
                  </a:lnTo>
                  <a:lnTo>
                    <a:pt x="2298" y="152"/>
                  </a:lnTo>
                  <a:lnTo>
                    <a:pt x="2103" y="79"/>
                  </a:lnTo>
                  <a:lnTo>
                    <a:pt x="1930" y="30"/>
                  </a:lnTo>
                  <a:lnTo>
                    <a:pt x="1794" y="0"/>
                  </a:lnTo>
                  <a:lnTo>
                    <a:pt x="1628" y="30"/>
                  </a:lnTo>
                  <a:lnTo>
                    <a:pt x="1455" y="42"/>
                  </a:lnTo>
                  <a:lnTo>
                    <a:pt x="1322" y="49"/>
                  </a:lnTo>
                  <a:lnTo>
                    <a:pt x="1196" y="79"/>
                  </a:lnTo>
                  <a:lnTo>
                    <a:pt x="1098" y="104"/>
                  </a:lnTo>
                  <a:lnTo>
                    <a:pt x="1007" y="55"/>
                  </a:lnTo>
                  <a:lnTo>
                    <a:pt x="904" y="111"/>
                  </a:lnTo>
                  <a:lnTo>
                    <a:pt x="770" y="97"/>
                  </a:lnTo>
                  <a:lnTo>
                    <a:pt x="677" y="129"/>
                  </a:lnTo>
                  <a:lnTo>
                    <a:pt x="505" y="178"/>
                  </a:lnTo>
                  <a:lnTo>
                    <a:pt x="332" y="277"/>
                  </a:lnTo>
                  <a:lnTo>
                    <a:pt x="245" y="375"/>
                  </a:lnTo>
                  <a:lnTo>
                    <a:pt x="202" y="524"/>
                  </a:lnTo>
                  <a:lnTo>
                    <a:pt x="55" y="631"/>
                  </a:lnTo>
                  <a:lnTo>
                    <a:pt x="0" y="825"/>
                  </a:lnTo>
                  <a:lnTo>
                    <a:pt x="88" y="875"/>
                  </a:lnTo>
                  <a:lnTo>
                    <a:pt x="146" y="848"/>
                  </a:lnTo>
                  <a:lnTo>
                    <a:pt x="220" y="805"/>
                  </a:lnTo>
                  <a:lnTo>
                    <a:pt x="220" y="716"/>
                  </a:lnTo>
                  <a:lnTo>
                    <a:pt x="256" y="626"/>
                  </a:lnTo>
                  <a:lnTo>
                    <a:pt x="302" y="570"/>
                  </a:lnTo>
                  <a:lnTo>
                    <a:pt x="381" y="492"/>
                  </a:lnTo>
                  <a:lnTo>
                    <a:pt x="484" y="472"/>
                  </a:lnTo>
                  <a:lnTo>
                    <a:pt x="528" y="528"/>
                  </a:lnTo>
                  <a:lnTo>
                    <a:pt x="518" y="626"/>
                  </a:lnTo>
                  <a:lnTo>
                    <a:pt x="602" y="725"/>
                  </a:lnTo>
                  <a:lnTo>
                    <a:pt x="709" y="764"/>
                  </a:lnTo>
                  <a:lnTo>
                    <a:pt x="831" y="836"/>
                  </a:lnTo>
                  <a:lnTo>
                    <a:pt x="916" y="901"/>
                  </a:lnTo>
                  <a:lnTo>
                    <a:pt x="993" y="1021"/>
                  </a:lnTo>
                  <a:lnTo>
                    <a:pt x="904" y="1164"/>
                  </a:lnTo>
                  <a:lnTo>
                    <a:pt x="904" y="1285"/>
                  </a:lnTo>
                  <a:lnTo>
                    <a:pt x="991" y="1296"/>
                  </a:lnTo>
                  <a:lnTo>
                    <a:pt x="1091" y="1348"/>
                  </a:lnTo>
                  <a:lnTo>
                    <a:pt x="1152" y="1428"/>
                  </a:lnTo>
                  <a:lnTo>
                    <a:pt x="1125" y="1585"/>
                  </a:lnTo>
                  <a:lnTo>
                    <a:pt x="1175" y="1746"/>
                  </a:lnTo>
                  <a:lnTo>
                    <a:pt x="1207" y="1889"/>
                  </a:lnTo>
                  <a:lnTo>
                    <a:pt x="1152" y="1971"/>
                  </a:lnTo>
                  <a:lnTo>
                    <a:pt x="1152" y="2219"/>
                  </a:lnTo>
                  <a:lnTo>
                    <a:pt x="1198" y="2323"/>
                  </a:lnTo>
                  <a:lnTo>
                    <a:pt x="1251" y="2355"/>
                  </a:lnTo>
                  <a:lnTo>
                    <a:pt x="1281" y="2517"/>
                  </a:lnTo>
                  <a:lnTo>
                    <a:pt x="1320" y="2573"/>
                  </a:lnTo>
                  <a:lnTo>
                    <a:pt x="1275" y="2671"/>
                  </a:lnTo>
                  <a:lnTo>
                    <a:pt x="1278" y="2822"/>
                  </a:lnTo>
                  <a:lnTo>
                    <a:pt x="1338" y="2902"/>
                  </a:lnTo>
                  <a:lnTo>
                    <a:pt x="1384" y="2998"/>
                  </a:lnTo>
                  <a:lnTo>
                    <a:pt x="1443" y="2921"/>
                  </a:lnTo>
                  <a:lnTo>
                    <a:pt x="1498" y="2863"/>
                  </a:lnTo>
                  <a:lnTo>
                    <a:pt x="1607" y="2928"/>
                  </a:lnTo>
                  <a:lnTo>
                    <a:pt x="1686" y="2955"/>
                  </a:lnTo>
                  <a:lnTo>
                    <a:pt x="1714" y="2997"/>
                  </a:lnTo>
                  <a:lnTo>
                    <a:pt x="1758" y="3053"/>
                  </a:lnTo>
                  <a:lnTo>
                    <a:pt x="1855" y="3101"/>
                  </a:lnTo>
                  <a:lnTo>
                    <a:pt x="1904" y="3261"/>
                  </a:lnTo>
                  <a:lnTo>
                    <a:pt x="1930" y="3394"/>
                  </a:lnTo>
                  <a:lnTo>
                    <a:pt x="1946" y="3491"/>
                  </a:lnTo>
                  <a:lnTo>
                    <a:pt x="1976" y="3588"/>
                  </a:lnTo>
                  <a:lnTo>
                    <a:pt x="2025" y="3698"/>
                  </a:lnTo>
                  <a:lnTo>
                    <a:pt x="2055" y="3831"/>
                  </a:lnTo>
                  <a:lnTo>
                    <a:pt x="2043" y="3962"/>
                  </a:lnTo>
                  <a:lnTo>
                    <a:pt x="2122" y="4046"/>
                  </a:lnTo>
                  <a:lnTo>
                    <a:pt x="2207" y="4080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75" name="Freeform 69">
              <a:extLst>
                <a:ext uri="{FF2B5EF4-FFF2-40B4-BE49-F238E27FC236}">
                  <a16:creationId xmlns:a16="http://schemas.microsoft.com/office/drawing/2014/main" id="{32A95B33-1D53-DC0B-C9B0-2A23A8050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5061" y="2833688"/>
              <a:ext cx="560387" cy="819150"/>
            </a:xfrm>
            <a:custGeom>
              <a:avLst/>
              <a:gdLst>
                <a:gd name="T0" fmla="*/ 877 w 1767"/>
                <a:gd name="T1" fmla="*/ 144 h 2581"/>
                <a:gd name="T2" fmla="*/ 764 w 1767"/>
                <a:gd name="T3" fmla="*/ 69 h 2581"/>
                <a:gd name="T4" fmla="*/ 540 w 1767"/>
                <a:gd name="T5" fmla="*/ 132 h 2581"/>
                <a:gd name="T6" fmla="*/ 519 w 1767"/>
                <a:gd name="T7" fmla="*/ 256 h 2581"/>
                <a:gd name="T8" fmla="*/ 300 w 1767"/>
                <a:gd name="T9" fmla="*/ 307 h 2581"/>
                <a:gd name="T10" fmla="*/ 153 w 1767"/>
                <a:gd name="T11" fmla="*/ 387 h 2581"/>
                <a:gd name="T12" fmla="*/ 127 w 1767"/>
                <a:gd name="T13" fmla="*/ 552 h 2581"/>
                <a:gd name="T14" fmla="*/ 129 w 1767"/>
                <a:gd name="T15" fmla="*/ 603 h 2581"/>
                <a:gd name="T16" fmla="*/ 85 w 1767"/>
                <a:gd name="T17" fmla="*/ 753 h 2581"/>
                <a:gd name="T18" fmla="*/ 87 w 1767"/>
                <a:gd name="T19" fmla="*/ 852 h 2581"/>
                <a:gd name="T20" fmla="*/ 1 w 1767"/>
                <a:gd name="T21" fmla="*/ 1098 h 2581"/>
                <a:gd name="T22" fmla="*/ 214 w 1767"/>
                <a:gd name="T23" fmla="*/ 1197 h 2581"/>
                <a:gd name="T24" fmla="*/ 345 w 1767"/>
                <a:gd name="T25" fmla="*/ 1395 h 2581"/>
                <a:gd name="T26" fmla="*/ 387 w 1767"/>
                <a:gd name="T27" fmla="*/ 1449 h 2581"/>
                <a:gd name="T28" fmla="*/ 342 w 1767"/>
                <a:gd name="T29" fmla="*/ 1645 h 2581"/>
                <a:gd name="T30" fmla="*/ 300 w 1767"/>
                <a:gd name="T31" fmla="*/ 1696 h 2581"/>
                <a:gd name="T32" fmla="*/ 216 w 1767"/>
                <a:gd name="T33" fmla="*/ 1792 h 2581"/>
                <a:gd name="T34" fmla="*/ 301 w 1767"/>
                <a:gd name="T35" fmla="*/ 1945 h 2581"/>
                <a:gd name="T36" fmla="*/ 474 w 1767"/>
                <a:gd name="T37" fmla="*/ 2088 h 2581"/>
                <a:gd name="T38" fmla="*/ 516 w 1767"/>
                <a:gd name="T39" fmla="*/ 2191 h 2581"/>
                <a:gd name="T40" fmla="*/ 559 w 1767"/>
                <a:gd name="T41" fmla="*/ 2337 h 2581"/>
                <a:gd name="T42" fmla="*/ 588 w 1767"/>
                <a:gd name="T43" fmla="*/ 2432 h 2581"/>
                <a:gd name="T44" fmla="*/ 718 w 1767"/>
                <a:gd name="T45" fmla="*/ 2531 h 2581"/>
                <a:gd name="T46" fmla="*/ 900 w 1767"/>
                <a:gd name="T47" fmla="*/ 2565 h 2581"/>
                <a:gd name="T48" fmla="*/ 1107 w 1767"/>
                <a:gd name="T49" fmla="*/ 2531 h 2581"/>
                <a:gd name="T50" fmla="*/ 1237 w 1767"/>
                <a:gd name="T51" fmla="*/ 2581 h 2581"/>
                <a:gd name="T52" fmla="*/ 1453 w 1767"/>
                <a:gd name="T53" fmla="*/ 2482 h 2581"/>
                <a:gd name="T54" fmla="*/ 1614 w 1767"/>
                <a:gd name="T55" fmla="*/ 2264 h 2581"/>
                <a:gd name="T56" fmla="*/ 1767 w 1767"/>
                <a:gd name="T57" fmla="*/ 1870 h 2581"/>
                <a:gd name="T58" fmla="*/ 1563 w 1767"/>
                <a:gd name="T59" fmla="*/ 1810 h 2581"/>
                <a:gd name="T60" fmla="*/ 1422 w 1767"/>
                <a:gd name="T61" fmla="*/ 1713 h 2581"/>
                <a:gd name="T62" fmla="*/ 1287 w 1767"/>
                <a:gd name="T63" fmla="*/ 1557 h 2581"/>
                <a:gd name="T64" fmla="*/ 1335 w 1767"/>
                <a:gd name="T65" fmla="*/ 1432 h 2581"/>
                <a:gd name="T66" fmla="*/ 1362 w 1767"/>
                <a:gd name="T67" fmla="*/ 1221 h 2581"/>
                <a:gd name="T68" fmla="*/ 1198 w 1767"/>
                <a:gd name="T69" fmla="*/ 1104 h 2581"/>
                <a:gd name="T70" fmla="*/ 1180 w 1767"/>
                <a:gd name="T71" fmla="*/ 844 h 2581"/>
                <a:gd name="T72" fmla="*/ 1098 w 1767"/>
                <a:gd name="T73" fmla="*/ 631 h 2581"/>
                <a:gd name="T74" fmla="*/ 1061 w 1767"/>
                <a:gd name="T75" fmla="*/ 405 h 2581"/>
                <a:gd name="T76" fmla="*/ 917 w 1767"/>
                <a:gd name="T77" fmla="*/ 194 h 2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67" h="2581">
                  <a:moveTo>
                    <a:pt x="917" y="194"/>
                  </a:moveTo>
                  <a:lnTo>
                    <a:pt x="877" y="144"/>
                  </a:lnTo>
                  <a:lnTo>
                    <a:pt x="843" y="97"/>
                  </a:lnTo>
                  <a:lnTo>
                    <a:pt x="764" y="69"/>
                  </a:lnTo>
                  <a:lnTo>
                    <a:pt x="653" y="0"/>
                  </a:lnTo>
                  <a:lnTo>
                    <a:pt x="540" y="132"/>
                  </a:lnTo>
                  <a:lnTo>
                    <a:pt x="514" y="210"/>
                  </a:lnTo>
                  <a:lnTo>
                    <a:pt x="519" y="256"/>
                  </a:lnTo>
                  <a:lnTo>
                    <a:pt x="432" y="304"/>
                  </a:lnTo>
                  <a:lnTo>
                    <a:pt x="300" y="307"/>
                  </a:lnTo>
                  <a:lnTo>
                    <a:pt x="225" y="378"/>
                  </a:lnTo>
                  <a:lnTo>
                    <a:pt x="153" y="387"/>
                  </a:lnTo>
                  <a:lnTo>
                    <a:pt x="130" y="453"/>
                  </a:lnTo>
                  <a:lnTo>
                    <a:pt x="127" y="552"/>
                  </a:lnTo>
                  <a:lnTo>
                    <a:pt x="85" y="555"/>
                  </a:lnTo>
                  <a:lnTo>
                    <a:pt x="129" y="603"/>
                  </a:lnTo>
                  <a:lnTo>
                    <a:pt x="84" y="655"/>
                  </a:lnTo>
                  <a:lnTo>
                    <a:pt x="85" y="753"/>
                  </a:lnTo>
                  <a:lnTo>
                    <a:pt x="42" y="799"/>
                  </a:lnTo>
                  <a:lnTo>
                    <a:pt x="87" y="852"/>
                  </a:lnTo>
                  <a:lnTo>
                    <a:pt x="0" y="852"/>
                  </a:lnTo>
                  <a:lnTo>
                    <a:pt x="1" y="1098"/>
                  </a:lnTo>
                  <a:lnTo>
                    <a:pt x="82" y="1197"/>
                  </a:lnTo>
                  <a:lnTo>
                    <a:pt x="214" y="1197"/>
                  </a:lnTo>
                  <a:lnTo>
                    <a:pt x="303" y="1299"/>
                  </a:lnTo>
                  <a:lnTo>
                    <a:pt x="345" y="1395"/>
                  </a:lnTo>
                  <a:lnTo>
                    <a:pt x="345" y="1443"/>
                  </a:lnTo>
                  <a:lnTo>
                    <a:pt x="387" y="1449"/>
                  </a:lnTo>
                  <a:lnTo>
                    <a:pt x="387" y="1599"/>
                  </a:lnTo>
                  <a:lnTo>
                    <a:pt x="342" y="1645"/>
                  </a:lnTo>
                  <a:lnTo>
                    <a:pt x="346" y="1693"/>
                  </a:lnTo>
                  <a:lnTo>
                    <a:pt x="300" y="1696"/>
                  </a:lnTo>
                  <a:lnTo>
                    <a:pt x="247" y="1746"/>
                  </a:lnTo>
                  <a:lnTo>
                    <a:pt x="216" y="1792"/>
                  </a:lnTo>
                  <a:lnTo>
                    <a:pt x="216" y="1843"/>
                  </a:lnTo>
                  <a:lnTo>
                    <a:pt x="301" y="1945"/>
                  </a:lnTo>
                  <a:lnTo>
                    <a:pt x="388" y="1989"/>
                  </a:lnTo>
                  <a:lnTo>
                    <a:pt x="474" y="2088"/>
                  </a:lnTo>
                  <a:lnTo>
                    <a:pt x="475" y="2140"/>
                  </a:lnTo>
                  <a:lnTo>
                    <a:pt x="516" y="2191"/>
                  </a:lnTo>
                  <a:lnTo>
                    <a:pt x="514" y="2238"/>
                  </a:lnTo>
                  <a:lnTo>
                    <a:pt x="559" y="2337"/>
                  </a:lnTo>
                  <a:lnTo>
                    <a:pt x="562" y="2391"/>
                  </a:lnTo>
                  <a:lnTo>
                    <a:pt x="588" y="2432"/>
                  </a:lnTo>
                  <a:lnTo>
                    <a:pt x="675" y="2482"/>
                  </a:lnTo>
                  <a:lnTo>
                    <a:pt x="718" y="2531"/>
                  </a:lnTo>
                  <a:lnTo>
                    <a:pt x="796" y="2550"/>
                  </a:lnTo>
                  <a:lnTo>
                    <a:pt x="900" y="2565"/>
                  </a:lnTo>
                  <a:lnTo>
                    <a:pt x="997" y="2573"/>
                  </a:lnTo>
                  <a:lnTo>
                    <a:pt x="1107" y="2531"/>
                  </a:lnTo>
                  <a:lnTo>
                    <a:pt x="1177" y="2573"/>
                  </a:lnTo>
                  <a:lnTo>
                    <a:pt x="1237" y="2581"/>
                  </a:lnTo>
                  <a:lnTo>
                    <a:pt x="1323" y="2526"/>
                  </a:lnTo>
                  <a:lnTo>
                    <a:pt x="1453" y="2482"/>
                  </a:lnTo>
                  <a:lnTo>
                    <a:pt x="1538" y="2431"/>
                  </a:lnTo>
                  <a:lnTo>
                    <a:pt x="1614" y="2264"/>
                  </a:lnTo>
                  <a:lnTo>
                    <a:pt x="1662" y="2042"/>
                  </a:lnTo>
                  <a:lnTo>
                    <a:pt x="1767" y="1870"/>
                  </a:lnTo>
                  <a:lnTo>
                    <a:pt x="1684" y="1867"/>
                  </a:lnTo>
                  <a:lnTo>
                    <a:pt x="1563" y="1810"/>
                  </a:lnTo>
                  <a:lnTo>
                    <a:pt x="1467" y="1770"/>
                  </a:lnTo>
                  <a:lnTo>
                    <a:pt x="1422" y="1713"/>
                  </a:lnTo>
                  <a:lnTo>
                    <a:pt x="1326" y="1650"/>
                  </a:lnTo>
                  <a:lnTo>
                    <a:pt x="1287" y="1557"/>
                  </a:lnTo>
                  <a:lnTo>
                    <a:pt x="1302" y="1480"/>
                  </a:lnTo>
                  <a:lnTo>
                    <a:pt x="1335" y="1432"/>
                  </a:lnTo>
                  <a:lnTo>
                    <a:pt x="1345" y="1320"/>
                  </a:lnTo>
                  <a:lnTo>
                    <a:pt x="1362" y="1221"/>
                  </a:lnTo>
                  <a:lnTo>
                    <a:pt x="1279" y="1189"/>
                  </a:lnTo>
                  <a:lnTo>
                    <a:pt x="1198" y="1104"/>
                  </a:lnTo>
                  <a:lnTo>
                    <a:pt x="1209" y="975"/>
                  </a:lnTo>
                  <a:lnTo>
                    <a:pt x="1180" y="844"/>
                  </a:lnTo>
                  <a:lnTo>
                    <a:pt x="1129" y="715"/>
                  </a:lnTo>
                  <a:lnTo>
                    <a:pt x="1098" y="631"/>
                  </a:lnTo>
                  <a:lnTo>
                    <a:pt x="1086" y="535"/>
                  </a:lnTo>
                  <a:lnTo>
                    <a:pt x="1061" y="405"/>
                  </a:lnTo>
                  <a:lnTo>
                    <a:pt x="1009" y="240"/>
                  </a:lnTo>
                  <a:lnTo>
                    <a:pt x="917" y="194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76" name="Freeform 70">
              <a:extLst>
                <a:ext uri="{FF2B5EF4-FFF2-40B4-BE49-F238E27FC236}">
                  <a16:creationId xmlns:a16="http://schemas.microsoft.com/office/drawing/2014/main" id="{00E14723-6B9A-2F52-96D4-6E3867B7A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8186" y="3344863"/>
              <a:ext cx="1279525" cy="966787"/>
            </a:xfrm>
            <a:custGeom>
              <a:avLst/>
              <a:gdLst>
                <a:gd name="T0" fmla="*/ 2592 w 4029"/>
                <a:gd name="T1" fmla="*/ 2947 h 3046"/>
                <a:gd name="T2" fmla="*/ 2764 w 4029"/>
                <a:gd name="T3" fmla="*/ 3046 h 3046"/>
                <a:gd name="T4" fmla="*/ 2959 w 4029"/>
                <a:gd name="T5" fmla="*/ 3010 h 3046"/>
                <a:gd name="T6" fmla="*/ 3153 w 4029"/>
                <a:gd name="T7" fmla="*/ 2947 h 3046"/>
                <a:gd name="T8" fmla="*/ 3289 w 4029"/>
                <a:gd name="T9" fmla="*/ 2768 h 3046"/>
                <a:gd name="T10" fmla="*/ 3159 w 4029"/>
                <a:gd name="T11" fmla="*/ 2600 h 3046"/>
                <a:gd name="T12" fmla="*/ 3255 w 4029"/>
                <a:gd name="T13" fmla="*/ 2429 h 3046"/>
                <a:gd name="T14" fmla="*/ 3472 w 4029"/>
                <a:gd name="T15" fmla="*/ 2354 h 3046"/>
                <a:gd name="T16" fmla="*/ 3628 w 4029"/>
                <a:gd name="T17" fmla="*/ 2452 h 3046"/>
                <a:gd name="T18" fmla="*/ 3802 w 4029"/>
                <a:gd name="T19" fmla="*/ 2458 h 3046"/>
                <a:gd name="T20" fmla="*/ 3963 w 4029"/>
                <a:gd name="T21" fmla="*/ 2311 h 3046"/>
                <a:gd name="T22" fmla="*/ 4003 w 4029"/>
                <a:gd name="T23" fmla="*/ 2065 h 3046"/>
                <a:gd name="T24" fmla="*/ 3930 w 4029"/>
                <a:gd name="T25" fmla="*/ 1931 h 3046"/>
                <a:gd name="T26" fmla="*/ 3769 w 4029"/>
                <a:gd name="T27" fmla="*/ 1834 h 3046"/>
                <a:gd name="T28" fmla="*/ 3626 w 4029"/>
                <a:gd name="T29" fmla="*/ 1681 h 3046"/>
                <a:gd name="T30" fmla="*/ 3463 w 4029"/>
                <a:gd name="T31" fmla="*/ 1688 h 3046"/>
                <a:gd name="T32" fmla="*/ 3335 w 4029"/>
                <a:gd name="T33" fmla="*/ 1639 h 3046"/>
                <a:gd name="T34" fmla="*/ 3176 w 4029"/>
                <a:gd name="T35" fmla="*/ 1487 h 3046"/>
                <a:gd name="T36" fmla="*/ 3044 w 4029"/>
                <a:gd name="T37" fmla="*/ 1459 h 3046"/>
                <a:gd name="T38" fmla="*/ 2904 w 4029"/>
                <a:gd name="T39" fmla="*/ 1441 h 3046"/>
                <a:gd name="T40" fmla="*/ 2817 w 4029"/>
                <a:gd name="T41" fmla="*/ 1296 h 3046"/>
                <a:gd name="T42" fmla="*/ 2701 w 4029"/>
                <a:gd name="T43" fmla="*/ 1243 h 3046"/>
                <a:gd name="T44" fmla="*/ 2470 w 4029"/>
                <a:gd name="T45" fmla="*/ 1194 h 3046"/>
                <a:gd name="T46" fmla="*/ 2303 w 4029"/>
                <a:gd name="T47" fmla="*/ 1050 h 3046"/>
                <a:gd name="T48" fmla="*/ 2208 w 4029"/>
                <a:gd name="T49" fmla="*/ 888 h 3046"/>
                <a:gd name="T50" fmla="*/ 2042 w 4029"/>
                <a:gd name="T51" fmla="*/ 553 h 3046"/>
                <a:gd name="T52" fmla="*/ 1956 w 4029"/>
                <a:gd name="T53" fmla="*/ 405 h 3046"/>
                <a:gd name="T54" fmla="*/ 1827 w 4029"/>
                <a:gd name="T55" fmla="*/ 253 h 3046"/>
                <a:gd name="T56" fmla="*/ 1694 w 4029"/>
                <a:gd name="T57" fmla="*/ 203 h 3046"/>
                <a:gd name="T58" fmla="*/ 1390 w 4029"/>
                <a:gd name="T59" fmla="*/ 56 h 3046"/>
                <a:gd name="T60" fmla="*/ 1244 w 4029"/>
                <a:gd name="T61" fmla="*/ 8 h 3046"/>
                <a:gd name="T62" fmla="*/ 1123 w 4029"/>
                <a:gd name="T63" fmla="*/ 26 h 3046"/>
                <a:gd name="T64" fmla="*/ 1080 w 4029"/>
                <a:gd name="T65" fmla="*/ 224 h 3046"/>
                <a:gd name="T66" fmla="*/ 978 w 4029"/>
                <a:gd name="T67" fmla="*/ 327 h 3046"/>
                <a:gd name="T68" fmla="*/ 821 w 4029"/>
                <a:gd name="T69" fmla="*/ 471 h 3046"/>
                <a:gd name="T70" fmla="*/ 691 w 4029"/>
                <a:gd name="T71" fmla="*/ 719 h 3046"/>
                <a:gd name="T72" fmla="*/ 604 w 4029"/>
                <a:gd name="T73" fmla="*/ 867 h 3046"/>
                <a:gd name="T74" fmla="*/ 561 w 4029"/>
                <a:gd name="T75" fmla="*/ 1065 h 3046"/>
                <a:gd name="T76" fmla="*/ 518 w 4029"/>
                <a:gd name="T77" fmla="*/ 1263 h 3046"/>
                <a:gd name="T78" fmla="*/ 389 w 4029"/>
                <a:gd name="T79" fmla="*/ 1412 h 3046"/>
                <a:gd name="T80" fmla="*/ 259 w 4029"/>
                <a:gd name="T81" fmla="*/ 1561 h 3046"/>
                <a:gd name="T82" fmla="*/ 92 w 4029"/>
                <a:gd name="T83" fmla="*/ 1590 h 3046"/>
                <a:gd name="T84" fmla="*/ 0 w 4029"/>
                <a:gd name="T85" fmla="*/ 1809 h 3046"/>
                <a:gd name="T86" fmla="*/ 43 w 4029"/>
                <a:gd name="T87" fmla="*/ 2007 h 3046"/>
                <a:gd name="T88" fmla="*/ 216 w 4029"/>
                <a:gd name="T89" fmla="*/ 1908 h 3046"/>
                <a:gd name="T90" fmla="*/ 390 w 4029"/>
                <a:gd name="T91" fmla="*/ 1836 h 3046"/>
                <a:gd name="T92" fmla="*/ 584 w 4029"/>
                <a:gd name="T93" fmla="*/ 1780 h 3046"/>
                <a:gd name="T94" fmla="*/ 821 w 4029"/>
                <a:gd name="T95" fmla="*/ 1611 h 3046"/>
                <a:gd name="T96" fmla="*/ 1020 w 4029"/>
                <a:gd name="T97" fmla="*/ 1590 h 3046"/>
                <a:gd name="T98" fmla="*/ 1062 w 4029"/>
                <a:gd name="T99" fmla="*/ 1335 h 3046"/>
                <a:gd name="T100" fmla="*/ 1228 w 4029"/>
                <a:gd name="T101" fmla="*/ 1383 h 3046"/>
                <a:gd name="T102" fmla="*/ 1512 w 4029"/>
                <a:gd name="T103" fmla="*/ 1561 h 3046"/>
                <a:gd name="T104" fmla="*/ 1678 w 4029"/>
                <a:gd name="T105" fmla="*/ 1638 h 3046"/>
                <a:gd name="T106" fmla="*/ 1858 w 4029"/>
                <a:gd name="T107" fmla="*/ 1709 h 3046"/>
                <a:gd name="T108" fmla="*/ 1740 w 4029"/>
                <a:gd name="T109" fmla="*/ 1962 h 3046"/>
                <a:gd name="T110" fmla="*/ 1857 w 4029"/>
                <a:gd name="T111" fmla="*/ 2155 h 3046"/>
                <a:gd name="T112" fmla="*/ 1824 w 4029"/>
                <a:gd name="T113" fmla="*/ 2320 h 3046"/>
                <a:gd name="T114" fmla="*/ 1814 w 4029"/>
                <a:gd name="T115" fmla="*/ 2502 h 3046"/>
                <a:gd name="T116" fmla="*/ 1955 w 4029"/>
                <a:gd name="T117" fmla="*/ 2614 h 3046"/>
                <a:gd name="T118" fmla="*/ 2074 w 4029"/>
                <a:gd name="T119" fmla="*/ 2700 h 3046"/>
                <a:gd name="T120" fmla="*/ 2203 w 4029"/>
                <a:gd name="T121" fmla="*/ 2898 h 3046"/>
                <a:gd name="T122" fmla="*/ 2447 w 4029"/>
                <a:gd name="T123" fmla="*/ 2868 h 3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29" h="3046">
                  <a:moveTo>
                    <a:pt x="2447" y="2868"/>
                  </a:moveTo>
                  <a:lnTo>
                    <a:pt x="2592" y="2947"/>
                  </a:lnTo>
                  <a:lnTo>
                    <a:pt x="2678" y="3046"/>
                  </a:lnTo>
                  <a:lnTo>
                    <a:pt x="2764" y="3046"/>
                  </a:lnTo>
                  <a:lnTo>
                    <a:pt x="2842" y="3043"/>
                  </a:lnTo>
                  <a:lnTo>
                    <a:pt x="2959" y="3010"/>
                  </a:lnTo>
                  <a:lnTo>
                    <a:pt x="3066" y="2997"/>
                  </a:lnTo>
                  <a:lnTo>
                    <a:pt x="3153" y="2947"/>
                  </a:lnTo>
                  <a:lnTo>
                    <a:pt x="3236" y="2891"/>
                  </a:lnTo>
                  <a:lnTo>
                    <a:pt x="3289" y="2768"/>
                  </a:lnTo>
                  <a:lnTo>
                    <a:pt x="3201" y="2685"/>
                  </a:lnTo>
                  <a:lnTo>
                    <a:pt x="3159" y="2600"/>
                  </a:lnTo>
                  <a:lnTo>
                    <a:pt x="3154" y="2504"/>
                  </a:lnTo>
                  <a:lnTo>
                    <a:pt x="3255" y="2429"/>
                  </a:lnTo>
                  <a:lnTo>
                    <a:pt x="3382" y="2330"/>
                  </a:lnTo>
                  <a:lnTo>
                    <a:pt x="3472" y="2354"/>
                  </a:lnTo>
                  <a:lnTo>
                    <a:pt x="3547" y="2407"/>
                  </a:lnTo>
                  <a:lnTo>
                    <a:pt x="3628" y="2452"/>
                  </a:lnTo>
                  <a:lnTo>
                    <a:pt x="3726" y="2492"/>
                  </a:lnTo>
                  <a:lnTo>
                    <a:pt x="3802" y="2458"/>
                  </a:lnTo>
                  <a:lnTo>
                    <a:pt x="3906" y="2428"/>
                  </a:lnTo>
                  <a:lnTo>
                    <a:pt x="3963" y="2311"/>
                  </a:lnTo>
                  <a:lnTo>
                    <a:pt x="3978" y="2206"/>
                  </a:lnTo>
                  <a:lnTo>
                    <a:pt x="4003" y="2065"/>
                  </a:lnTo>
                  <a:lnTo>
                    <a:pt x="4029" y="1943"/>
                  </a:lnTo>
                  <a:lnTo>
                    <a:pt x="3930" y="1931"/>
                  </a:lnTo>
                  <a:lnTo>
                    <a:pt x="3856" y="1936"/>
                  </a:lnTo>
                  <a:lnTo>
                    <a:pt x="3769" y="1834"/>
                  </a:lnTo>
                  <a:lnTo>
                    <a:pt x="3696" y="1736"/>
                  </a:lnTo>
                  <a:lnTo>
                    <a:pt x="3626" y="1681"/>
                  </a:lnTo>
                  <a:lnTo>
                    <a:pt x="3559" y="1689"/>
                  </a:lnTo>
                  <a:lnTo>
                    <a:pt x="3463" y="1688"/>
                  </a:lnTo>
                  <a:lnTo>
                    <a:pt x="3421" y="1638"/>
                  </a:lnTo>
                  <a:lnTo>
                    <a:pt x="3335" y="1639"/>
                  </a:lnTo>
                  <a:lnTo>
                    <a:pt x="3251" y="1543"/>
                  </a:lnTo>
                  <a:lnTo>
                    <a:pt x="3176" y="1487"/>
                  </a:lnTo>
                  <a:lnTo>
                    <a:pt x="3112" y="1469"/>
                  </a:lnTo>
                  <a:lnTo>
                    <a:pt x="3044" y="1459"/>
                  </a:lnTo>
                  <a:lnTo>
                    <a:pt x="2962" y="1460"/>
                  </a:lnTo>
                  <a:lnTo>
                    <a:pt x="2904" y="1441"/>
                  </a:lnTo>
                  <a:lnTo>
                    <a:pt x="2860" y="1391"/>
                  </a:lnTo>
                  <a:lnTo>
                    <a:pt x="2817" y="1296"/>
                  </a:lnTo>
                  <a:lnTo>
                    <a:pt x="2767" y="1237"/>
                  </a:lnTo>
                  <a:lnTo>
                    <a:pt x="2701" y="1243"/>
                  </a:lnTo>
                  <a:lnTo>
                    <a:pt x="2472" y="1243"/>
                  </a:lnTo>
                  <a:lnTo>
                    <a:pt x="2470" y="1194"/>
                  </a:lnTo>
                  <a:lnTo>
                    <a:pt x="2427" y="1191"/>
                  </a:lnTo>
                  <a:lnTo>
                    <a:pt x="2303" y="1050"/>
                  </a:lnTo>
                  <a:lnTo>
                    <a:pt x="2258" y="982"/>
                  </a:lnTo>
                  <a:lnTo>
                    <a:pt x="2208" y="888"/>
                  </a:lnTo>
                  <a:lnTo>
                    <a:pt x="2126" y="750"/>
                  </a:lnTo>
                  <a:lnTo>
                    <a:pt x="2042" y="553"/>
                  </a:lnTo>
                  <a:lnTo>
                    <a:pt x="1993" y="495"/>
                  </a:lnTo>
                  <a:lnTo>
                    <a:pt x="1956" y="405"/>
                  </a:lnTo>
                  <a:lnTo>
                    <a:pt x="1892" y="302"/>
                  </a:lnTo>
                  <a:lnTo>
                    <a:pt x="1827" y="253"/>
                  </a:lnTo>
                  <a:lnTo>
                    <a:pt x="1781" y="254"/>
                  </a:lnTo>
                  <a:lnTo>
                    <a:pt x="1694" y="203"/>
                  </a:lnTo>
                  <a:lnTo>
                    <a:pt x="1567" y="96"/>
                  </a:lnTo>
                  <a:lnTo>
                    <a:pt x="1390" y="56"/>
                  </a:lnTo>
                  <a:lnTo>
                    <a:pt x="1311" y="23"/>
                  </a:lnTo>
                  <a:lnTo>
                    <a:pt x="1244" y="8"/>
                  </a:lnTo>
                  <a:lnTo>
                    <a:pt x="1159" y="0"/>
                  </a:lnTo>
                  <a:lnTo>
                    <a:pt x="1123" y="26"/>
                  </a:lnTo>
                  <a:lnTo>
                    <a:pt x="1080" y="125"/>
                  </a:lnTo>
                  <a:lnTo>
                    <a:pt x="1080" y="224"/>
                  </a:lnTo>
                  <a:lnTo>
                    <a:pt x="1037" y="274"/>
                  </a:lnTo>
                  <a:lnTo>
                    <a:pt x="978" y="327"/>
                  </a:lnTo>
                  <a:lnTo>
                    <a:pt x="907" y="373"/>
                  </a:lnTo>
                  <a:lnTo>
                    <a:pt x="821" y="471"/>
                  </a:lnTo>
                  <a:lnTo>
                    <a:pt x="735" y="620"/>
                  </a:lnTo>
                  <a:lnTo>
                    <a:pt x="691" y="719"/>
                  </a:lnTo>
                  <a:lnTo>
                    <a:pt x="632" y="756"/>
                  </a:lnTo>
                  <a:lnTo>
                    <a:pt x="604" y="867"/>
                  </a:lnTo>
                  <a:lnTo>
                    <a:pt x="561" y="966"/>
                  </a:lnTo>
                  <a:lnTo>
                    <a:pt x="561" y="1065"/>
                  </a:lnTo>
                  <a:lnTo>
                    <a:pt x="561" y="1164"/>
                  </a:lnTo>
                  <a:lnTo>
                    <a:pt x="518" y="1263"/>
                  </a:lnTo>
                  <a:lnTo>
                    <a:pt x="432" y="1362"/>
                  </a:lnTo>
                  <a:lnTo>
                    <a:pt x="389" y="1412"/>
                  </a:lnTo>
                  <a:lnTo>
                    <a:pt x="345" y="1461"/>
                  </a:lnTo>
                  <a:lnTo>
                    <a:pt x="259" y="1561"/>
                  </a:lnTo>
                  <a:lnTo>
                    <a:pt x="154" y="1566"/>
                  </a:lnTo>
                  <a:lnTo>
                    <a:pt x="92" y="1590"/>
                  </a:lnTo>
                  <a:lnTo>
                    <a:pt x="43" y="1660"/>
                  </a:lnTo>
                  <a:lnTo>
                    <a:pt x="0" y="1809"/>
                  </a:lnTo>
                  <a:lnTo>
                    <a:pt x="0" y="1957"/>
                  </a:lnTo>
                  <a:lnTo>
                    <a:pt x="43" y="2007"/>
                  </a:lnTo>
                  <a:lnTo>
                    <a:pt x="86" y="2007"/>
                  </a:lnTo>
                  <a:lnTo>
                    <a:pt x="216" y="1908"/>
                  </a:lnTo>
                  <a:lnTo>
                    <a:pt x="293" y="1828"/>
                  </a:lnTo>
                  <a:lnTo>
                    <a:pt x="390" y="1836"/>
                  </a:lnTo>
                  <a:lnTo>
                    <a:pt x="475" y="1908"/>
                  </a:lnTo>
                  <a:lnTo>
                    <a:pt x="584" y="1780"/>
                  </a:lnTo>
                  <a:lnTo>
                    <a:pt x="716" y="1772"/>
                  </a:lnTo>
                  <a:lnTo>
                    <a:pt x="821" y="1611"/>
                  </a:lnTo>
                  <a:lnTo>
                    <a:pt x="861" y="1573"/>
                  </a:lnTo>
                  <a:lnTo>
                    <a:pt x="1020" y="1590"/>
                  </a:lnTo>
                  <a:lnTo>
                    <a:pt x="1037" y="1412"/>
                  </a:lnTo>
                  <a:lnTo>
                    <a:pt x="1062" y="1335"/>
                  </a:lnTo>
                  <a:lnTo>
                    <a:pt x="1166" y="1343"/>
                  </a:lnTo>
                  <a:lnTo>
                    <a:pt x="1228" y="1383"/>
                  </a:lnTo>
                  <a:lnTo>
                    <a:pt x="1382" y="1461"/>
                  </a:lnTo>
                  <a:lnTo>
                    <a:pt x="1512" y="1561"/>
                  </a:lnTo>
                  <a:lnTo>
                    <a:pt x="1555" y="1611"/>
                  </a:lnTo>
                  <a:lnTo>
                    <a:pt x="1678" y="1638"/>
                  </a:lnTo>
                  <a:lnTo>
                    <a:pt x="1761" y="1605"/>
                  </a:lnTo>
                  <a:lnTo>
                    <a:pt x="1858" y="1709"/>
                  </a:lnTo>
                  <a:lnTo>
                    <a:pt x="1782" y="1836"/>
                  </a:lnTo>
                  <a:lnTo>
                    <a:pt x="1740" y="1962"/>
                  </a:lnTo>
                  <a:lnTo>
                    <a:pt x="1771" y="2106"/>
                  </a:lnTo>
                  <a:lnTo>
                    <a:pt x="1857" y="2155"/>
                  </a:lnTo>
                  <a:lnTo>
                    <a:pt x="1814" y="2254"/>
                  </a:lnTo>
                  <a:lnTo>
                    <a:pt x="1824" y="2320"/>
                  </a:lnTo>
                  <a:lnTo>
                    <a:pt x="1824" y="2407"/>
                  </a:lnTo>
                  <a:lnTo>
                    <a:pt x="1814" y="2502"/>
                  </a:lnTo>
                  <a:lnTo>
                    <a:pt x="1857" y="2551"/>
                  </a:lnTo>
                  <a:lnTo>
                    <a:pt x="1955" y="2614"/>
                  </a:lnTo>
                  <a:lnTo>
                    <a:pt x="2030" y="2700"/>
                  </a:lnTo>
                  <a:lnTo>
                    <a:pt x="2074" y="2700"/>
                  </a:lnTo>
                  <a:lnTo>
                    <a:pt x="2160" y="2799"/>
                  </a:lnTo>
                  <a:lnTo>
                    <a:pt x="2203" y="2898"/>
                  </a:lnTo>
                  <a:lnTo>
                    <a:pt x="2333" y="2898"/>
                  </a:lnTo>
                  <a:lnTo>
                    <a:pt x="2447" y="2868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77" name="Freeform 71">
              <a:extLst>
                <a:ext uri="{FF2B5EF4-FFF2-40B4-BE49-F238E27FC236}">
                  <a16:creationId xmlns:a16="http://schemas.microsoft.com/office/drawing/2014/main" id="{3DB9542B-2138-9339-8F60-67FC447BE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3285" y="3730972"/>
              <a:ext cx="314325" cy="465137"/>
            </a:xfrm>
            <a:custGeom>
              <a:avLst/>
              <a:gdLst>
                <a:gd name="T0" fmla="*/ 1032 w 1311"/>
                <a:gd name="T1" fmla="*/ 0 h 1683"/>
                <a:gd name="T2" fmla="*/ 911 w 1311"/>
                <a:gd name="T3" fmla="*/ 57 h 1683"/>
                <a:gd name="T4" fmla="*/ 816 w 1311"/>
                <a:gd name="T5" fmla="*/ 65 h 1683"/>
                <a:gd name="T6" fmla="*/ 740 w 1311"/>
                <a:gd name="T7" fmla="*/ 144 h 1683"/>
                <a:gd name="T8" fmla="*/ 684 w 1311"/>
                <a:gd name="T9" fmla="*/ 246 h 1683"/>
                <a:gd name="T10" fmla="*/ 572 w 1311"/>
                <a:gd name="T11" fmla="*/ 207 h 1683"/>
                <a:gd name="T12" fmla="*/ 515 w 1311"/>
                <a:gd name="T13" fmla="*/ 143 h 1683"/>
                <a:gd name="T14" fmla="*/ 116 w 1311"/>
                <a:gd name="T15" fmla="*/ 141 h 1683"/>
                <a:gd name="T16" fmla="*/ 59 w 1311"/>
                <a:gd name="T17" fmla="*/ 197 h 1683"/>
                <a:gd name="T18" fmla="*/ 2 w 1311"/>
                <a:gd name="T19" fmla="*/ 240 h 1683"/>
                <a:gd name="T20" fmla="*/ 2 w 1311"/>
                <a:gd name="T21" fmla="*/ 716 h 1683"/>
                <a:gd name="T22" fmla="*/ 26 w 1311"/>
                <a:gd name="T23" fmla="*/ 783 h 1683"/>
                <a:gd name="T24" fmla="*/ 2 w 1311"/>
                <a:gd name="T25" fmla="*/ 830 h 1683"/>
                <a:gd name="T26" fmla="*/ 2 w 1311"/>
                <a:gd name="T27" fmla="*/ 999 h 1683"/>
                <a:gd name="T28" fmla="*/ 56 w 1311"/>
                <a:gd name="T29" fmla="*/ 1055 h 1683"/>
                <a:gd name="T30" fmla="*/ 2 w 1311"/>
                <a:gd name="T31" fmla="*/ 1115 h 1683"/>
                <a:gd name="T32" fmla="*/ 0 w 1311"/>
                <a:gd name="T33" fmla="*/ 1452 h 1683"/>
                <a:gd name="T34" fmla="*/ 57 w 1311"/>
                <a:gd name="T35" fmla="*/ 1511 h 1683"/>
                <a:gd name="T36" fmla="*/ 57 w 1311"/>
                <a:gd name="T37" fmla="*/ 1625 h 1683"/>
                <a:gd name="T38" fmla="*/ 3 w 1311"/>
                <a:gd name="T39" fmla="*/ 1683 h 1683"/>
                <a:gd name="T40" fmla="*/ 162 w 1311"/>
                <a:gd name="T41" fmla="*/ 1590 h 1683"/>
                <a:gd name="T42" fmla="*/ 299 w 1311"/>
                <a:gd name="T43" fmla="*/ 1553 h 1683"/>
                <a:gd name="T44" fmla="*/ 455 w 1311"/>
                <a:gd name="T45" fmla="*/ 1519 h 1683"/>
                <a:gd name="T46" fmla="*/ 626 w 1311"/>
                <a:gd name="T47" fmla="*/ 1519 h 1683"/>
                <a:gd name="T48" fmla="*/ 738 w 1311"/>
                <a:gd name="T49" fmla="*/ 1471 h 1683"/>
                <a:gd name="T50" fmla="*/ 855 w 1311"/>
                <a:gd name="T51" fmla="*/ 1405 h 1683"/>
                <a:gd name="T52" fmla="*/ 939 w 1311"/>
                <a:gd name="T53" fmla="*/ 1370 h 1683"/>
                <a:gd name="T54" fmla="*/ 1030 w 1311"/>
                <a:gd name="T55" fmla="*/ 1325 h 1683"/>
                <a:gd name="T56" fmla="*/ 1140 w 1311"/>
                <a:gd name="T57" fmla="*/ 1234 h 1683"/>
                <a:gd name="T58" fmla="*/ 1254 w 1311"/>
                <a:gd name="T59" fmla="*/ 1177 h 1683"/>
                <a:gd name="T60" fmla="*/ 1311 w 1311"/>
                <a:gd name="T61" fmla="*/ 1062 h 1683"/>
                <a:gd name="T62" fmla="*/ 1311 w 1311"/>
                <a:gd name="T63" fmla="*/ 891 h 1683"/>
                <a:gd name="T64" fmla="*/ 1311 w 1311"/>
                <a:gd name="T65" fmla="*/ 720 h 1683"/>
                <a:gd name="T66" fmla="*/ 1286 w 1311"/>
                <a:gd name="T67" fmla="*/ 621 h 1683"/>
                <a:gd name="T68" fmla="*/ 1277 w 1311"/>
                <a:gd name="T69" fmla="*/ 474 h 1683"/>
                <a:gd name="T70" fmla="*/ 1222 w 1311"/>
                <a:gd name="T71" fmla="*/ 319 h 1683"/>
                <a:gd name="T72" fmla="*/ 1231 w 1311"/>
                <a:gd name="T73" fmla="*/ 154 h 1683"/>
                <a:gd name="T74" fmla="*/ 1251 w 1311"/>
                <a:gd name="T75" fmla="*/ 0 h 1683"/>
                <a:gd name="T76" fmla="*/ 1032 w 1311"/>
                <a:gd name="T77" fmla="*/ 0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11" h="1683">
                  <a:moveTo>
                    <a:pt x="1032" y="0"/>
                  </a:moveTo>
                  <a:lnTo>
                    <a:pt x="911" y="57"/>
                  </a:lnTo>
                  <a:lnTo>
                    <a:pt x="816" y="65"/>
                  </a:lnTo>
                  <a:lnTo>
                    <a:pt x="740" y="144"/>
                  </a:lnTo>
                  <a:lnTo>
                    <a:pt x="684" y="246"/>
                  </a:lnTo>
                  <a:lnTo>
                    <a:pt x="572" y="207"/>
                  </a:lnTo>
                  <a:lnTo>
                    <a:pt x="515" y="143"/>
                  </a:lnTo>
                  <a:lnTo>
                    <a:pt x="116" y="141"/>
                  </a:lnTo>
                  <a:lnTo>
                    <a:pt x="59" y="197"/>
                  </a:lnTo>
                  <a:lnTo>
                    <a:pt x="2" y="240"/>
                  </a:lnTo>
                  <a:lnTo>
                    <a:pt x="2" y="716"/>
                  </a:lnTo>
                  <a:lnTo>
                    <a:pt x="26" y="783"/>
                  </a:lnTo>
                  <a:lnTo>
                    <a:pt x="2" y="830"/>
                  </a:lnTo>
                  <a:lnTo>
                    <a:pt x="2" y="999"/>
                  </a:lnTo>
                  <a:lnTo>
                    <a:pt x="56" y="1055"/>
                  </a:lnTo>
                  <a:lnTo>
                    <a:pt x="2" y="1115"/>
                  </a:lnTo>
                  <a:lnTo>
                    <a:pt x="0" y="1452"/>
                  </a:lnTo>
                  <a:lnTo>
                    <a:pt x="57" y="1511"/>
                  </a:lnTo>
                  <a:lnTo>
                    <a:pt x="57" y="1625"/>
                  </a:lnTo>
                  <a:lnTo>
                    <a:pt x="3" y="1683"/>
                  </a:lnTo>
                  <a:lnTo>
                    <a:pt x="162" y="1590"/>
                  </a:lnTo>
                  <a:lnTo>
                    <a:pt x="299" y="1553"/>
                  </a:lnTo>
                  <a:lnTo>
                    <a:pt x="455" y="1519"/>
                  </a:lnTo>
                  <a:lnTo>
                    <a:pt x="626" y="1519"/>
                  </a:lnTo>
                  <a:lnTo>
                    <a:pt x="738" y="1471"/>
                  </a:lnTo>
                  <a:lnTo>
                    <a:pt x="855" y="1405"/>
                  </a:lnTo>
                  <a:lnTo>
                    <a:pt x="939" y="1370"/>
                  </a:lnTo>
                  <a:lnTo>
                    <a:pt x="1030" y="1325"/>
                  </a:lnTo>
                  <a:lnTo>
                    <a:pt x="1140" y="1234"/>
                  </a:lnTo>
                  <a:lnTo>
                    <a:pt x="1254" y="1177"/>
                  </a:lnTo>
                  <a:lnTo>
                    <a:pt x="1311" y="1062"/>
                  </a:lnTo>
                  <a:lnTo>
                    <a:pt x="1311" y="891"/>
                  </a:lnTo>
                  <a:lnTo>
                    <a:pt x="1311" y="720"/>
                  </a:lnTo>
                  <a:lnTo>
                    <a:pt x="1286" y="621"/>
                  </a:lnTo>
                  <a:lnTo>
                    <a:pt x="1277" y="474"/>
                  </a:lnTo>
                  <a:lnTo>
                    <a:pt x="1222" y="319"/>
                  </a:lnTo>
                  <a:lnTo>
                    <a:pt x="1231" y="154"/>
                  </a:lnTo>
                  <a:lnTo>
                    <a:pt x="1251" y="0"/>
                  </a:lnTo>
                  <a:lnTo>
                    <a:pt x="1032" y="0"/>
                  </a:lnTo>
                  <a:close/>
                </a:path>
              </a:pathLst>
            </a:custGeom>
            <a:solidFill>
              <a:srgbClr val="339966">
                <a:lumMod val="75000"/>
              </a:srgbClr>
            </a:solidFill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78" name="Freeform 72">
              <a:extLst>
                <a:ext uri="{FF2B5EF4-FFF2-40B4-BE49-F238E27FC236}">
                  <a16:creationId xmlns:a16="http://schemas.microsoft.com/office/drawing/2014/main" id="{57DEE6D1-B1E0-C435-8C89-522091667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473" y="3716338"/>
              <a:ext cx="955675" cy="657225"/>
            </a:xfrm>
            <a:custGeom>
              <a:avLst/>
              <a:gdLst>
                <a:gd name="T0" fmla="*/ 2267 w 3972"/>
                <a:gd name="T1" fmla="*/ 398 h 2384"/>
                <a:gd name="T2" fmla="*/ 1994 w 3972"/>
                <a:gd name="T3" fmla="*/ 444 h 2384"/>
                <a:gd name="T4" fmla="*/ 1814 w 3972"/>
                <a:gd name="T5" fmla="*/ 240 h 2384"/>
                <a:gd name="T6" fmla="*/ 1451 w 3972"/>
                <a:gd name="T7" fmla="*/ 324 h 2384"/>
                <a:gd name="T8" fmla="*/ 1415 w 3972"/>
                <a:gd name="T9" fmla="*/ 83 h 2384"/>
                <a:gd name="T10" fmla="*/ 1202 w 3972"/>
                <a:gd name="T11" fmla="*/ 59 h 2384"/>
                <a:gd name="T12" fmla="*/ 837 w 3972"/>
                <a:gd name="T13" fmla="*/ 114 h 2384"/>
                <a:gd name="T14" fmla="*/ 644 w 3972"/>
                <a:gd name="T15" fmla="*/ 213 h 2384"/>
                <a:gd name="T16" fmla="*/ 689 w 3972"/>
                <a:gd name="T17" fmla="*/ 531 h 2384"/>
                <a:gd name="T18" fmla="*/ 723 w 3972"/>
                <a:gd name="T19" fmla="*/ 779 h 2384"/>
                <a:gd name="T20" fmla="*/ 669 w 3972"/>
                <a:gd name="T21" fmla="*/ 1232 h 2384"/>
                <a:gd name="T22" fmla="*/ 551 w 3972"/>
                <a:gd name="T23" fmla="*/ 1292 h 2384"/>
                <a:gd name="T24" fmla="*/ 353 w 3972"/>
                <a:gd name="T25" fmla="*/ 1425 h 2384"/>
                <a:gd name="T26" fmla="*/ 152 w 3972"/>
                <a:gd name="T27" fmla="*/ 1529 h 2384"/>
                <a:gd name="T28" fmla="*/ 42 w 3972"/>
                <a:gd name="T29" fmla="*/ 1674 h 2384"/>
                <a:gd name="T30" fmla="*/ 18 w 3972"/>
                <a:gd name="T31" fmla="*/ 1842 h 2384"/>
                <a:gd name="T32" fmla="*/ 0 w 3972"/>
                <a:gd name="T33" fmla="*/ 2040 h 2384"/>
                <a:gd name="T34" fmla="*/ 191 w 3972"/>
                <a:gd name="T35" fmla="*/ 2042 h 2384"/>
                <a:gd name="T36" fmla="*/ 419 w 3972"/>
                <a:gd name="T37" fmla="*/ 1985 h 2384"/>
                <a:gd name="T38" fmla="*/ 590 w 3972"/>
                <a:gd name="T39" fmla="*/ 2042 h 2384"/>
                <a:gd name="T40" fmla="*/ 726 w 3972"/>
                <a:gd name="T41" fmla="*/ 2202 h 2384"/>
                <a:gd name="T42" fmla="*/ 989 w 3972"/>
                <a:gd name="T43" fmla="*/ 2099 h 2384"/>
                <a:gd name="T44" fmla="*/ 1389 w 3972"/>
                <a:gd name="T45" fmla="*/ 2213 h 2384"/>
                <a:gd name="T46" fmla="*/ 1674 w 3972"/>
                <a:gd name="T47" fmla="*/ 2270 h 2384"/>
                <a:gd name="T48" fmla="*/ 1902 w 3972"/>
                <a:gd name="T49" fmla="*/ 2384 h 2384"/>
                <a:gd name="T50" fmla="*/ 2016 w 3972"/>
                <a:gd name="T51" fmla="*/ 2213 h 2384"/>
                <a:gd name="T52" fmla="*/ 2076 w 3972"/>
                <a:gd name="T53" fmla="*/ 1980 h 2384"/>
                <a:gd name="T54" fmla="*/ 2262 w 3972"/>
                <a:gd name="T55" fmla="*/ 2034 h 2384"/>
                <a:gd name="T56" fmla="*/ 2478 w 3972"/>
                <a:gd name="T57" fmla="*/ 2154 h 2384"/>
                <a:gd name="T58" fmla="*/ 2814 w 3972"/>
                <a:gd name="T59" fmla="*/ 2156 h 2384"/>
                <a:gd name="T60" fmla="*/ 3072 w 3972"/>
                <a:gd name="T61" fmla="*/ 2232 h 2384"/>
                <a:gd name="T62" fmla="*/ 3282 w 3972"/>
                <a:gd name="T63" fmla="*/ 2328 h 2384"/>
                <a:gd name="T64" fmla="*/ 3426 w 3972"/>
                <a:gd name="T65" fmla="*/ 2250 h 2384"/>
                <a:gd name="T66" fmla="*/ 3636 w 3972"/>
                <a:gd name="T67" fmla="*/ 2100 h 2384"/>
                <a:gd name="T68" fmla="*/ 3654 w 3972"/>
                <a:gd name="T69" fmla="*/ 1884 h 2384"/>
                <a:gd name="T70" fmla="*/ 3918 w 3972"/>
                <a:gd name="T71" fmla="*/ 1800 h 2384"/>
                <a:gd name="T72" fmla="*/ 3876 w 3972"/>
                <a:gd name="T73" fmla="*/ 1584 h 2384"/>
                <a:gd name="T74" fmla="*/ 3570 w 3972"/>
                <a:gd name="T75" fmla="*/ 1530 h 2384"/>
                <a:gd name="T76" fmla="*/ 3328 w 3972"/>
                <a:gd name="T77" fmla="*/ 1528 h 2384"/>
                <a:gd name="T78" fmla="*/ 3043 w 3972"/>
                <a:gd name="T79" fmla="*/ 1471 h 2384"/>
                <a:gd name="T80" fmla="*/ 2862 w 3972"/>
                <a:gd name="T81" fmla="*/ 1296 h 2384"/>
                <a:gd name="T82" fmla="*/ 2832 w 3972"/>
                <a:gd name="T83" fmla="*/ 1068 h 2384"/>
                <a:gd name="T84" fmla="*/ 2985 w 3972"/>
                <a:gd name="T85" fmla="*/ 787 h 2384"/>
                <a:gd name="T86" fmla="*/ 2898 w 3972"/>
                <a:gd name="T87" fmla="*/ 552 h 2384"/>
                <a:gd name="T88" fmla="*/ 2634 w 3972"/>
                <a:gd name="T89" fmla="*/ 450 h 2384"/>
                <a:gd name="T90" fmla="*/ 2495 w 3972"/>
                <a:gd name="T91" fmla="*/ 285 h 2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72" h="2384">
                  <a:moveTo>
                    <a:pt x="2495" y="285"/>
                  </a:moveTo>
                  <a:lnTo>
                    <a:pt x="2267" y="398"/>
                  </a:lnTo>
                  <a:lnTo>
                    <a:pt x="2136" y="443"/>
                  </a:lnTo>
                  <a:lnTo>
                    <a:pt x="1994" y="444"/>
                  </a:lnTo>
                  <a:lnTo>
                    <a:pt x="1865" y="171"/>
                  </a:lnTo>
                  <a:lnTo>
                    <a:pt x="1814" y="240"/>
                  </a:lnTo>
                  <a:lnTo>
                    <a:pt x="1593" y="348"/>
                  </a:lnTo>
                  <a:lnTo>
                    <a:pt x="1451" y="324"/>
                  </a:lnTo>
                  <a:lnTo>
                    <a:pt x="1356" y="240"/>
                  </a:lnTo>
                  <a:lnTo>
                    <a:pt x="1415" y="83"/>
                  </a:lnTo>
                  <a:lnTo>
                    <a:pt x="1296" y="0"/>
                  </a:lnTo>
                  <a:lnTo>
                    <a:pt x="1202" y="59"/>
                  </a:lnTo>
                  <a:lnTo>
                    <a:pt x="1010" y="114"/>
                  </a:lnTo>
                  <a:lnTo>
                    <a:pt x="837" y="114"/>
                  </a:lnTo>
                  <a:lnTo>
                    <a:pt x="663" y="56"/>
                  </a:lnTo>
                  <a:lnTo>
                    <a:pt x="644" y="213"/>
                  </a:lnTo>
                  <a:lnTo>
                    <a:pt x="635" y="377"/>
                  </a:lnTo>
                  <a:lnTo>
                    <a:pt x="689" y="531"/>
                  </a:lnTo>
                  <a:lnTo>
                    <a:pt x="696" y="671"/>
                  </a:lnTo>
                  <a:lnTo>
                    <a:pt x="723" y="779"/>
                  </a:lnTo>
                  <a:lnTo>
                    <a:pt x="723" y="1116"/>
                  </a:lnTo>
                  <a:lnTo>
                    <a:pt x="669" y="1232"/>
                  </a:lnTo>
                  <a:lnTo>
                    <a:pt x="647" y="1243"/>
                  </a:lnTo>
                  <a:lnTo>
                    <a:pt x="551" y="1292"/>
                  </a:lnTo>
                  <a:lnTo>
                    <a:pt x="444" y="1379"/>
                  </a:lnTo>
                  <a:lnTo>
                    <a:pt x="353" y="1425"/>
                  </a:lnTo>
                  <a:lnTo>
                    <a:pt x="272" y="1458"/>
                  </a:lnTo>
                  <a:lnTo>
                    <a:pt x="152" y="1529"/>
                  </a:lnTo>
                  <a:lnTo>
                    <a:pt x="38" y="1575"/>
                  </a:lnTo>
                  <a:lnTo>
                    <a:pt x="42" y="1674"/>
                  </a:lnTo>
                  <a:lnTo>
                    <a:pt x="24" y="1752"/>
                  </a:lnTo>
                  <a:lnTo>
                    <a:pt x="18" y="1842"/>
                  </a:lnTo>
                  <a:lnTo>
                    <a:pt x="20" y="1928"/>
                  </a:lnTo>
                  <a:lnTo>
                    <a:pt x="0" y="2040"/>
                  </a:lnTo>
                  <a:lnTo>
                    <a:pt x="108" y="2094"/>
                  </a:lnTo>
                  <a:lnTo>
                    <a:pt x="191" y="2042"/>
                  </a:lnTo>
                  <a:lnTo>
                    <a:pt x="318" y="2004"/>
                  </a:lnTo>
                  <a:lnTo>
                    <a:pt x="419" y="1985"/>
                  </a:lnTo>
                  <a:lnTo>
                    <a:pt x="510" y="2028"/>
                  </a:lnTo>
                  <a:lnTo>
                    <a:pt x="590" y="2042"/>
                  </a:lnTo>
                  <a:lnTo>
                    <a:pt x="672" y="2124"/>
                  </a:lnTo>
                  <a:lnTo>
                    <a:pt x="726" y="2202"/>
                  </a:lnTo>
                  <a:lnTo>
                    <a:pt x="875" y="2156"/>
                  </a:lnTo>
                  <a:lnTo>
                    <a:pt x="989" y="2099"/>
                  </a:lnTo>
                  <a:lnTo>
                    <a:pt x="1164" y="2148"/>
                  </a:lnTo>
                  <a:lnTo>
                    <a:pt x="1389" y="2213"/>
                  </a:lnTo>
                  <a:lnTo>
                    <a:pt x="1503" y="2213"/>
                  </a:lnTo>
                  <a:lnTo>
                    <a:pt x="1674" y="2270"/>
                  </a:lnTo>
                  <a:lnTo>
                    <a:pt x="1788" y="2327"/>
                  </a:lnTo>
                  <a:lnTo>
                    <a:pt x="1902" y="2384"/>
                  </a:lnTo>
                  <a:lnTo>
                    <a:pt x="2016" y="2334"/>
                  </a:lnTo>
                  <a:lnTo>
                    <a:pt x="2016" y="2213"/>
                  </a:lnTo>
                  <a:lnTo>
                    <a:pt x="2034" y="2106"/>
                  </a:lnTo>
                  <a:lnTo>
                    <a:pt x="2076" y="1980"/>
                  </a:lnTo>
                  <a:lnTo>
                    <a:pt x="2136" y="1932"/>
                  </a:lnTo>
                  <a:lnTo>
                    <a:pt x="2262" y="2034"/>
                  </a:lnTo>
                  <a:lnTo>
                    <a:pt x="2376" y="2118"/>
                  </a:lnTo>
                  <a:lnTo>
                    <a:pt x="2478" y="2154"/>
                  </a:lnTo>
                  <a:lnTo>
                    <a:pt x="2628" y="2136"/>
                  </a:lnTo>
                  <a:lnTo>
                    <a:pt x="2814" y="2156"/>
                  </a:lnTo>
                  <a:lnTo>
                    <a:pt x="2904" y="2154"/>
                  </a:lnTo>
                  <a:lnTo>
                    <a:pt x="3072" y="2232"/>
                  </a:lnTo>
                  <a:lnTo>
                    <a:pt x="3214" y="2270"/>
                  </a:lnTo>
                  <a:lnTo>
                    <a:pt x="3282" y="2328"/>
                  </a:lnTo>
                  <a:lnTo>
                    <a:pt x="3360" y="2364"/>
                  </a:lnTo>
                  <a:lnTo>
                    <a:pt x="3426" y="2250"/>
                  </a:lnTo>
                  <a:lnTo>
                    <a:pt x="3498" y="2142"/>
                  </a:lnTo>
                  <a:lnTo>
                    <a:pt x="3636" y="2100"/>
                  </a:lnTo>
                  <a:lnTo>
                    <a:pt x="3660" y="2004"/>
                  </a:lnTo>
                  <a:lnTo>
                    <a:pt x="3654" y="1884"/>
                  </a:lnTo>
                  <a:lnTo>
                    <a:pt x="3798" y="1830"/>
                  </a:lnTo>
                  <a:lnTo>
                    <a:pt x="3918" y="1800"/>
                  </a:lnTo>
                  <a:lnTo>
                    <a:pt x="3972" y="1656"/>
                  </a:lnTo>
                  <a:lnTo>
                    <a:pt x="3876" y="1584"/>
                  </a:lnTo>
                  <a:lnTo>
                    <a:pt x="3727" y="1585"/>
                  </a:lnTo>
                  <a:lnTo>
                    <a:pt x="3570" y="1530"/>
                  </a:lnTo>
                  <a:lnTo>
                    <a:pt x="3450" y="1518"/>
                  </a:lnTo>
                  <a:lnTo>
                    <a:pt x="3328" y="1528"/>
                  </a:lnTo>
                  <a:lnTo>
                    <a:pt x="3204" y="1494"/>
                  </a:lnTo>
                  <a:lnTo>
                    <a:pt x="3043" y="1471"/>
                  </a:lnTo>
                  <a:lnTo>
                    <a:pt x="2985" y="1414"/>
                  </a:lnTo>
                  <a:lnTo>
                    <a:pt x="2862" y="1296"/>
                  </a:lnTo>
                  <a:lnTo>
                    <a:pt x="2790" y="1176"/>
                  </a:lnTo>
                  <a:lnTo>
                    <a:pt x="2832" y="1068"/>
                  </a:lnTo>
                  <a:lnTo>
                    <a:pt x="2868" y="942"/>
                  </a:lnTo>
                  <a:lnTo>
                    <a:pt x="2985" y="787"/>
                  </a:lnTo>
                  <a:lnTo>
                    <a:pt x="3018" y="654"/>
                  </a:lnTo>
                  <a:lnTo>
                    <a:pt x="2898" y="552"/>
                  </a:lnTo>
                  <a:lnTo>
                    <a:pt x="2772" y="570"/>
                  </a:lnTo>
                  <a:lnTo>
                    <a:pt x="2634" y="450"/>
                  </a:lnTo>
                  <a:lnTo>
                    <a:pt x="2550" y="390"/>
                  </a:lnTo>
                  <a:lnTo>
                    <a:pt x="2495" y="285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79" name="Freeform 73">
              <a:extLst>
                <a:ext uri="{FF2B5EF4-FFF2-40B4-BE49-F238E27FC236}">
                  <a16:creationId xmlns:a16="http://schemas.microsoft.com/office/drawing/2014/main" id="{3C038203-B67B-376C-EE44-9A610788E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798" y="3260725"/>
              <a:ext cx="777875" cy="911225"/>
            </a:xfrm>
            <a:custGeom>
              <a:avLst/>
              <a:gdLst>
                <a:gd name="T0" fmla="*/ 1481 w 2451"/>
                <a:gd name="T1" fmla="*/ 977 h 2871"/>
                <a:gd name="T2" fmla="*/ 1396 w 2451"/>
                <a:gd name="T3" fmla="*/ 1194 h 2871"/>
                <a:gd name="T4" fmla="*/ 1225 w 2451"/>
                <a:gd name="T5" fmla="*/ 1290 h 2871"/>
                <a:gd name="T6" fmla="*/ 1091 w 2451"/>
                <a:gd name="T7" fmla="*/ 1341 h 2871"/>
                <a:gd name="T8" fmla="*/ 969 w 2451"/>
                <a:gd name="T9" fmla="*/ 1147 h 2871"/>
                <a:gd name="T10" fmla="*/ 790 w 2451"/>
                <a:gd name="T11" fmla="*/ 999 h 2871"/>
                <a:gd name="T12" fmla="*/ 748 w 2451"/>
                <a:gd name="T13" fmla="*/ 696 h 2871"/>
                <a:gd name="T14" fmla="*/ 615 w 2451"/>
                <a:gd name="T15" fmla="*/ 645 h 2871"/>
                <a:gd name="T16" fmla="*/ 536 w 2451"/>
                <a:gd name="T17" fmla="*/ 541 h 2871"/>
                <a:gd name="T18" fmla="*/ 486 w 2451"/>
                <a:gd name="T19" fmla="*/ 395 h 2871"/>
                <a:gd name="T20" fmla="*/ 442 w 2451"/>
                <a:gd name="T21" fmla="*/ 195 h 2871"/>
                <a:gd name="T22" fmla="*/ 315 w 2451"/>
                <a:gd name="T23" fmla="*/ 49 h 2871"/>
                <a:gd name="T24" fmla="*/ 229 w 2451"/>
                <a:gd name="T25" fmla="*/ 47 h 2871"/>
                <a:gd name="T26" fmla="*/ 101 w 2451"/>
                <a:gd name="T27" fmla="*/ 156 h 2871"/>
                <a:gd name="T28" fmla="*/ 143 w 2451"/>
                <a:gd name="T29" fmla="*/ 447 h 2871"/>
                <a:gd name="T30" fmla="*/ 57 w 2451"/>
                <a:gd name="T31" fmla="*/ 734 h 2871"/>
                <a:gd name="T32" fmla="*/ 18 w 2451"/>
                <a:gd name="T33" fmla="*/ 1059 h 2871"/>
                <a:gd name="T34" fmla="*/ 57 w 2451"/>
                <a:gd name="T35" fmla="*/ 1315 h 2871"/>
                <a:gd name="T36" fmla="*/ 119 w 2451"/>
                <a:gd name="T37" fmla="*/ 1569 h 2871"/>
                <a:gd name="T38" fmla="*/ 140 w 2451"/>
                <a:gd name="T39" fmla="*/ 1774 h 2871"/>
                <a:gd name="T40" fmla="*/ 311 w 2451"/>
                <a:gd name="T41" fmla="*/ 1932 h 2871"/>
                <a:gd name="T42" fmla="*/ 495 w 2451"/>
                <a:gd name="T43" fmla="*/ 2003 h 2871"/>
                <a:gd name="T44" fmla="*/ 382 w 2451"/>
                <a:gd name="T45" fmla="*/ 2249 h 2871"/>
                <a:gd name="T46" fmla="*/ 324 w 2451"/>
                <a:gd name="T47" fmla="*/ 2454 h 2871"/>
                <a:gd name="T48" fmla="*/ 513 w 2451"/>
                <a:gd name="T49" fmla="*/ 2711 h 2871"/>
                <a:gd name="T50" fmla="*/ 729 w 2451"/>
                <a:gd name="T51" fmla="*/ 2763 h 2871"/>
                <a:gd name="T52" fmla="*/ 909 w 2451"/>
                <a:gd name="T53" fmla="*/ 2763 h 2871"/>
                <a:gd name="T54" fmla="*/ 1145 w 2451"/>
                <a:gd name="T55" fmla="*/ 2809 h 2871"/>
                <a:gd name="T56" fmla="*/ 1333 w 2451"/>
                <a:gd name="T57" fmla="*/ 2848 h 2871"/>
                <a:gd name="T58" fmla="*/ 1546 w 2451"/>
                <a:gd name="T59" fmla="*/ 2780 h 2871"/>
                <a:gd name="T60" fmla="*/ 1665 w 2451"/>
                <a:gd name="T61" fmla="*/ 2658 h 2871"/>
                <a:gd name="T62" fmla="*/ 1761 w 2451"/>
                <a:gd name="T63" fmla="*/ 2483 h 2871"/>
                <a:gd name="T64" fmla="*/ 1989 w 2451"/>
                <a:gd name="T65" fmla="*/ 2325 h 2871"/>
                <a:gd name="T66" fmla="*/ 2149 w 2451"/>
                <a:gd name="T67" fmla="*/ 2187 h 2871"/>
                <a:gd name="T68" fmla="*/ 2384 w 2451"/>
                <a:gd name="T69" fmla="*/ 2055 h 2871"/>
                <a:gd name="T70" fmla="*/ 2439 w 2451"/>
                <a:gd name="T71" fmla="*/ 1905 h 2871"/>
                <a:gd name="T72" fmla="*/ 2322 w 2451"/>
                <a:gd name="T73" fmla="*/ 1742 h 2871"/>
                <a:gd name="T74" fmla="*/ 2259 w 2451"/>
                <a:gd name="T75" fmla="*/ 1484 h 2871"/>
                <a:gd name="T76" fmla="*/ 2309 w 2451"/>
                <a:gd name="T77" fmla="*/ 1238 h 2871"/>
                <a:gd name="T78" fmla="*/ 2161 w 2451"/>
                <a:gd name="T79" fmla="*/ 1188 h 2871"/>
                <a:gd name="T80" fmla="*/ 2050 w 2451"/>
                <a:gd name="T81" fmla="*/ 1060 h 2871"/>
                <a:gd name="T82" fmla="*/ 1909 w 2451"/>
                <a:gd name="T83" fmla="*/ 893 h 2871"/>
                <a:gd name="T84" fmla="*/ 1784 w 2451"/>
                <a:gd name="T85" fmla="*/ 944 h 2871"/>
                <a:gd name="T86" fmla="*/ 1613 w 2451"/>
                <a:gd name="T87" fmla="*/ 894 h 2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51" h="2871">
                  <a:moveTo>
                    <a:pt x="1525" y="894"/>
                  </a:moveTo>
                  <a:lnTo>
                    <a:pt x="1481" y="977"/>
                  </a:lnTo>
                  <a:lnTo>
                    <a:pt x="1480" y="1100"/>
                  </a:lnTo>
                  <a:lnTo>
                    <a:pt x="1396" y="1194"/>
                  </a:lnTo>
                  <a:lnTo>
                    <a:pt x="1306" y="1194"/>
                  </a:lnTo>
                  <a:lnTo>
                    <a:pt x="1225" y="1290"/>
                  </a:lnTo>
                  <a:lnTo>
                    <a:pt x="1175" y="1293"/>
                  </a:lnTo>
                  <a:lnTo>
                    <a:pt x="1091" y="1341"/>
                  </a:lnTo>
                  <a:lnTo>
                    <a:pt x="1048" y="1237"/>
                  </a:lnTo>
                  <a:lnTo>
                    <a:pt x="969" y="1147"/>
                  </a:lnTo>
                  <a:lnTo>
                    <a:pt x="874" y="1053"/>
                  </a:lnTo>
                  <a:lnTo>
                    <a:pt x="790" y="999"/>
                  </a:lnTo>
                  <a:lnTo>
                    <a:pt x="746" y="888"/>
                  </a:lnTo>
                  <a:lnTo>
                    <a:pt x="748" y="696"/>
                  </a:lnTo>
                  <a:lnTo>
                    <a:pt x="698" y="656"/>
                  </a:lnTo>
                  <a:lnTo>
                    <a:pt x="615" y="645"/>
                  </a:lnTo>
                  <a:lnTo>
                    <a:pt x="615" y="595"/>
                  </a:lnTo>
                  <a:lnTo>
                    <a:pt x="536" y="541"/>
                  </a:lnTo>
                  <a:lnTo>
                    <a:pt x="529" y="447"/>
                  </a:lnTo>
                  <a:lnTo>
                    <a:pt x="486" y="395"/>
                  </a:lnTo>
                  <a:lnTo>
                    <a:pt x="463" y="311"/>
                  </a:lnTo>
                  <a:lnTo>
                    <a:pt x="442" y="195"/>
                  </a:lnTo>
                  <a:lnTo>
                    <a:pt x="357" y="49"/>
                  </a:lnTo>
                  <a:lnTo>
                    <a:pt x="315" y="49"/>
                  </a:lnTo>
                  <a:lnTo>
                    <a:pt x="271" y="0"/>
                  </a:lnTo>
                  <a:lnTo>
                    <a:pt x="229" y="47"/>
                  </a:lnTo>
                  <a:lnTo>
                    <a:pt x="184" y="59"/>
                  </a:lnTo>
                  <a:lnTo>
                    <a:pt x="101" y="156"/>
                  </a:lnTo>
                  <a:lnTo>
                    <a:pt x="128" y="272"/>
                  </a:lnTo>
                  <a:lnTo>
                    <a:pt x="143" y="447"/>
                  </a:lnTo>
                  <a:lnTo>
                    <a:pt x="73" y="644"/>
                  </a:lnTo>
                  <a:lnTo>
                    <a:pt x="57" y="734"/>
                  </a:lnTo>
                  <a:lnTo>
                    <a:pt x="0" y="897"/>
                  </a:lnTo>
                  <a:lnTo>
                    <a:pt x="18" y="1059"/>
                  </a:lnTo>
                  <a:lnTo>
                    <a:pt x="10" y="1185"/>
                  </a:lnTo>
                  <a:lnTo>
                    <a:pt x="57" y="1315"/>
                  </a:lnTo>
                  <a:lnTo>
                    <a:pt x="100" y="1423"/>
                  </a:lnTo>
                  <a:lnTo>
                    <a:pt x="119" y="1569"/>
                  </a:lnTo>
                  <a:lnTo>
                    <a:pt x="100" y="1682"/>
                  </a:lnTo>
                  <a:lnTo>
                    <a:pt x="140" y="1774"/>
                  </a:lnTo>
                  <a:lnTo>
                    <a:pt x="208" y="1830"/>
                  </a:lnTo>
                  <a:lnTo>
                    <a:pt x="311" y="1932"/>
                  </a:lnTo>
                  <a:lnTo>
                    <a:pt x="401" y="1915"/>
                  </a:lnTo>
                  <a:lnTo>
                    <a:pt x="495" y="2003"/>
                  </a:lnTo>
                  <a:lnTo>
                    <a:pt x="469" y="2119"/>
                  </a:lnTo>
                  <a:lnTo>
                    <a:pt x="382" y="2249"/>
                  </a:lnTo>
                  <a:lnTo>
                    <a:pt x="353" y="2365"/>
                  </a:lnTo>
                  <a:lnTo>
                    <a:pt x="324" y="2454"/>
                  </a:lnTo>
                  <a:lnTo>
                    <a:pt x="376" y="2560"/>
                  </a:lnTo>
                  <a:lnTo>
                    <a:pt x="513" y="2711"/>
                  </a:lnTo>
                  <a:lnTo>
                    <a:pt x="641" y="2731"/>
                  </a:lnTo>
                  <a:lnTo>
                    <a:pt x="729" y="2763"/>
                  </a:lnTo>
                  <a:lnTo>
                    <a:pt x="815" y="2752"/>
                  </a:lnTo>
                  <a:lnTo>
                    <a:pt x="909" y="2763"/>
                  </a:lnTo>
                  <a:lnTo>
                    <a:pt x="1029" y="2809"/>
                  </a:lnTo>
                  <a:lnTo>
                    <a:pt x="1145" y="2809"/>
                  </a:lnTo>
                  <a:lnTo>
                    <a:pt x="1214" y="2871"/>
                  </a:lnTo>
                  <a:lnTo>
                    <a:pt x="1333" y="2848"/>
                  </a:lnTo>
                  <a:lnTo>
                    <a:pt x="1459" y="2829"/>
                  </a:lnTo>
                  <a:lnTo>
                    <a:pt x="1546" y="2780"/>
                  </a:lnTo>
                  <a:lnTo>
                    <a:pt x="1610" y="2737"/>
                  </a:lnTo>
                  <a:lnTo>
                    <a:pt x="1665" y="2658"/>
                  </a:lnTo>
                  <a:lnTo>
                    <a:pt x="1718" y="2533"/>
                  </a:lnTo>
                  <a:lnTo>
                    <a:pt x="1761" y="2483"/>
                  </a:lnTo>
                  <a:lnTo>
                    <a:pt x="1900" y="2404"/>
                  </a:lnTo>
                  <a:lnTo>
                    <a:pt x="1989" y="2325"/>
                  </a:lnTo>
                  <a:lnTo>
                    <a:pt x="2063" y="2236"/>
                  </a:lnTo>
                  <a:lnTo>
                    <a:pt x="2149" y="2187"/>
                  </a:lnTo>
                  <a:lnTo>
                    <a:pt x="2252" y="2111"/>
                  </a:lnTo>
                  <a:lnTo>
                    <a:pt x="2384" y="2055"/>
                  </a:lnTo>
                  <a:lnTo>
                    <a:pt x="2451" y="1989"/>
                  </a:lnTo>
                  <a:lnTo>
                    <a:pt x="2439" y="1905"/>
                  </a:lnTo>
                  <a:lnTo>
                    <a:pt x="2425" y="1841"/>
                  </a:lnTo>
                  <a:lnTo>
                    <a:pt x="2322" y="1742"/>
                  </a:lnTo>
                  <a:lnTo>
                    <a:pt x="2279" y="1594"/>
                  </a:lnTo>
                  <a:lnTo>
                    <a:pt x="2259" y="1484"/>
                  </a:lnTo>
                  <a:lnTo>
                    <a:pt x="2273" y="1381"/>
                  </a:lnTo>
                  <a:lnTo>
                    <a:pt x="2309" y="1238"/>
                  </a:lnTo>
                  <a:lnTo>
                    <a:pt x="2227" y="1232"/>
                  </a:lnTo>
                  <a:lnTo>
                    <a:pt x="2161" y="1188"/>
                  </a:lnTo>
                  <a:lnTo>
                    <a:pt x="2069" y="1146"/>
                  </a:lnTo>
                  <a:lnTo>
                    <a:pt x="2050" y="1060"/>
                  </a:lnTo>
                  <a:lnTo>
                    <a:pt x="1998" y="990"/>
                  </a:lnTo>
                  <a:lnTo>
                    <a:pt x="1909" y="893"/>
                  </a:lnTo>
                  <a:lnTo>
                    <a:pt x="1825" y="894"/>
                  </a:lnTo>
                  <a:lnTo>
                    <a:pt x="1784" y="944"/>
                  </a:lnTo>
                  <a:lnTo>
                    <a:pt x="1693" y="945"/>
                  </a:lnTo>
                  <a:lnTo>
                    <a:pt x="1613" y="894"/>
                  </a:lnTo>
                  <a:lnTo>
                    <a:pt x="1525" y="894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0" name="Freeform 74">
              <a:extLst>
                <a:ext uri="{FF2B5EF4-FFF2-40B4-BE49-F238E27FC236}">
                  <a16:creationId xmlns:a16="http://schemas.microsoft.com/office/drawing/2014/main" id="{C9D4599D-6D9C-B949-39C2-A7E86D980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1512" y="3592513"/>
              <a:ext cx="960437" cy="1423987"/>
            </a:xfrm>
            <a:custGeom>
              <a:avLst/>
              <a:gdLst>
                <a:gd name="T0" fmla="*/ 401 w 3026"/>
                <a:gd name="T1" fmla="*/ 3901 h 4487"/>
                <a:gd name="T2" fmla="*/ 694 w 3026"/>
                <a:gd name="T3" fmla="*/ 3587 h 4487"/>
                <a:gd name="T4" fmla="*/ 705 w 3026"/>
                <a:gd name="T5" fmla="*/ 3304 h 4487"/>
                <a:gd name="T6" fmla="*/ 656 w 3026"/>
                <a:gd name="T7" fmla="*/ 3055 h 4487"/>
                <a:gd name="T8" fmla="*/ 386 w 3026"/>
                <a:gd name="T9" fmla="*/ 2756 h 4487"/>
                <a:gd name="T10" fmla="*/ 134 w 3026"/>
                <a:gd name="T11" fmla="*/ 2673 h 4487"/>
                <a:gd name="T12" fmla="*/ 45 w 3026"/>
                <a:gd name="T13" fmla="*/ 2363 h 4487"/>
                <a:gd name="T14" fmla="*/ 228 w 3026"/>
                <a:gd name="T15" fmla="*/ 2128 h 4487"/>
                <a:gd name="T16" fmla="*/ 426 w 3026"/>
                <a:gd name="T17" fmla="*/ 1951 h 4487"/>
                <a:gd name="T18" fmla="*/ 707 w 3026"/>
                <a:gd name="T19" fmla="*/ 1787 h 4487"/>
                <a:gd name="T20" fmla="*/ 915 w 3026"/>
                <a:gd name="T21" fmla="*/ 1610 h 4487"/>
                <a:gd name="T22" fmla="*/ 1150 w 3026"/>
                <a:gd name="T23" fmla="*/ 1360 h 4487"/>
                <a:gd name="T24" fmla="*/ 1407 w 3026"/>
                <a:gd name="T25" fmla="*/ 1138 h 4487"/>
                <a:gd name="T26" fmla="*/ 1696 w 3026"/>
                <a:gd name="T27" fmla="*/ 947 h 4487"/>
                <a:gd name="T28" fmla="*/ 1567 w 3026"/>
                <a:gd name="T29" fmla="*/ 699 h 4487"/>
                <a:gd name="T30" fmla="*/ 1521 w 3026"/>
                <a:gd name="T31" fmla="*/ 338 h 4487"/>
                <a:gd name="T32" fmla="*/ 1752 w 3026"/>
                <a:gd name="T33" fmla="*/ 158 h 4487"/>
                <a:gd name="T34" fmla="*/ 1939 w 3026"/>
                <a:gd name="T35" fmla="*/ 50 h 4487"/>
                <a:gd name="T36" fmla="*/ 2134 w 3026"/>
                <a:gd name="T37" fmla="*/ 95 h 4487"/>
                <a:gd name="T38" fmla="*/ 2344 w 3026"/>
                <a:gd name="T39" fmla="*/ 174 h 4487"/>
                <a:gd name="T40" fmla="*/ 2631 w 3026"/>
                <a:gd name="T41" fmla="*/ 180 h 4487"/>
                <a:gd name="T42" fmla="*/ 2641 w 3026"/>
                <a:gd name="T43" fmla="*/ 453 h 4487"/>
                <a:gd name="T44" fmla="*/ 2908 w 3026"/>
                <a:gd name="T45" fmla="*/ 654 h 4487"/>
                <a:gd name="T46" fmla="*/ 3026 w 3026"/>
                <a:gd name="T47" fmla="*/ 925 h 4487"/>
                <a:gd name="T48" fmla="*/ 3026 w 3026"/>
                <a:gd name="T49" fmla="*/ 1272 h 4487"/>
                <a:gd name="T50" fmla="*/ 3026 w 3026"/>
                <a:gd name="T51" fmla="*/ 1518 h 4487"/>
                <a:gd name="T52" fmla="*/ 2896 w 3026"/>
                <a:gd name="T53" fmla="*/ 1716 h 4487"/>
                <a:gd name="T54" fmla="*/ 2751 w 3026"/>
                <a:gd name="T55" fmla="*/ 1958 h 4487"/>
                <a:gd name="T56" fmla="*/ 2569 w 3026"/>
                <a:gd name="T57" fmla="*/ 2201 h 4487"/>
                <a:gd name="T58" fmla="*/ 2574 w 3026"/>
                <a:gd name="T59" fmla="*/ 2500 h 4487"/>
                <a:gd name="T60" fmla="*/ 2824 w 3026"/>
                <a:gd name="T61" fmla="*/ 2542 h 4487"/>
                <a:gd name="T62" fmla="*/ 2981 w 3026"/>
                <a:gd name="T63" fmla="*/ 2888 h 4487"/>
                <a:gd name="T64" fmla="*/ 3011 w 3026"/>
                <a:gd name="T65" fmla="*/ 3270 h 4487"/>
                <a:gd name="T66" fmla="*/ 3026 w 3026"/>
                <a:gd name="T67" fmla="*/ 3596 h 4487"/>
                <a:gd name="T68" fmla="*/ 2853 w 3026"/>
                <a:gd name="T69" fmla="*/ 3894 h 4487"/>
                <a:gd name="T70" fmla="*/ 2723 w 3026"/>
                <a:gd name="T71" fmla="*/ 4141 h 4487"/>
                <a:gd name="T72" fmla="*/ 2594 w 3026"/>
                <a:gd name="T73" fmla="*/ 4338 h 4487"/>
                <a:gd name="T74" fmla="*/ 2301 w 3026"/>
                <a:gd name="T75" fmla="*/ 4463 h 4487"/>
                <a:gd name="T76" fmla="*/ 2160 w 3026"/>
                <a:gd name="T77" fmla="*/ 4190 h 4487"/>
                <a:gd name="T78" fmla="*/ 1858 w 3026"/>
                <a:gd name="T79" fmla="*/ 3795 h 4487"/>
                <a:gd name="T80" fmla="*/ 1543 w 3026"/>
                <a:gd name="T81" fmla="*/ 3638 h 4487"/>
                <a:gd name="T82" fmla="*/ 1342 w 3026"/>
                <a:gd name="T83" fmla="*/ 3846 h 4487"/>
                <a:gd name="T84" fmla="*/ 1020 w 3026"/>
                <a:gd name="T85" fmla="*/ 3846 h 4487"/>
                <a:gd name="T86" fmla="*/ 777 w 3026"/>
                <a:gd name="T87" fmla="*/ 3978 h 4487"/>
                <a:gd name="T88" fmla="*/ 468 w 3026"/>
                <a:gd name="T89" fmla="*/ 4151 h 4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26" h="4487">
                  <a:moveTo>
                    <a:pt x="468" y="4151"/>
                  </a:moveTo>
                  <a:lnTo>
                    <a:pt x="386" y="3993"/>
                  </a:lnTo>
                  <a:lnTo>
                    <a:pt x="401" y="3901"/>
                  </a:lnTo>
                  <a:lnTo>
                    <a:pt x="500" y="3788"/>
                  </a:lnTo>
                  <a:lnTo>
                    <a:pt x="589" y="3682"/>
                  </a:lnTo>
                  <a:lnTo>
                    <a:pt x="694" y="3587"/>
                  </a:lnTo>
                  <a:lnTo>
                    <a:pt x="674" y="3471"/>
                  </a:lnTo>
                  <a:lnTo>
                    <a:pt x="632" y="3388"/>
                  </a:lnTo>
                  <a:lnTo>
                    <a:pt x="705" y="3304"/>
                  </a:lnTo>
                  <a:lnTo>
                    <a:pt x="754" y="3228"/>
                  </a:lnTo>
                  <a:lnTo>
                    <a:pt x="733" y="3151"/>
                  </a:lnTo>
                  <a:lnTo>
                    <a:pt x="656" y="3055"/>
                  </a:lnTo>
                  <a:lnTo>
                    <a:pt x="571" y="2951"/>
                  </a:lnTo>
                  <a:lnTo>
                    <a:pt x="473" y="2854"/>
                  </a:lnTo>
                  <a:lnTo>
                    <a:pt x="386" y="2756"/>
                  </a:lnTo>
                  <a:lnTo>
                    <a:pt x="343" y="2707"/>
                  </a:lnTo>
                  <a:lnTo>
                    <a:pt x="213" y="2707"/>
                  </a:lnTo>
                  <a:lnTo>
                    <a:pt x="134" y="2673"/>
                  </a:lnTo>
                  <a:lnTo>
                    <a:pt x="43" y="2555"/>
                  </a:lnTo>
                  <a:lnTo>
                    <a:pt x="0" y="2440"/>
                  </a:lnTo>
                  <a:lnTo>
                    <a:pt x="45" y="2363"/>
                  </a:lnTo>
                  <a:lnTo>
                    <a:pt x="105" y="2253"/>
                  </a:lnTo>
                  <a:lnTo>
                    <a:pt x="210" y="2217"/>
                  </a:lnTo>
                  <a:lnTo>
                    <a:pt x="228" y="2128"/>
                  </a:lnTo>
                  <a:lnTo>
                    <a:pt x="224" y="2025"/>
                  </a:lnTo>
                  <a:lnTo>
                    <a:pt x="327" y="1983"/>
                  </a:lnTo>
                  <a:lnTo>
                    <a:pt x="426" y="1951"/>
                  </a:lnTo>
                  <a:lnTo>
                    <a:pt x="465" y="1826"/>
                  </a:lnTo>
                  <a:lnTo>
                    <a:pt x="594" y="1802"/>
                  </a:lnTo>
                  <a:lnTo>
                    <a:pt x="707" y="1787"/>
                  </a:lnTo>
                  <a:lnTo>
                    <a:pt x="790" y="1740"/>
                  </a:lnTo>
                  <a:lnTo>
                    <a:pt x="859" y="1693"/>
                  </a:lnTo>
                  <a:lnTo>
                    <a:pt x="915" y="1610"/>
                  </a:lnTo>
                  <a:lnTo>
                    <a:pt x="965" y="1493"/>
                  </a:lnTo>
                  <a:lnTo>
                    <a:pt x="1005" y="1440"/>
                  </a:lnTo>
                  <a:lnTo>
                    <a:pt x="1150" y="1360"/>
                  </a:lnTo>
                  <a:lnTo>
                    <a:pt x="1235" y="1285"/>
                  </a:lnTo>
                  <a:lnTo>
                    <a:pt x="1303" y="1196"/>
                  </a:lnTo>
                  <a:lnTo>
                    <a:pt x="1407" y="1138"/>
                  </a:lnTo>
                  <a:lnTo>
                    <a:pt x="1507" y="1064"/>
                  </a:lnTo>
                  <a:lnTo>
                    <a:pt x="1624" y="1013"/>
                  </a:lnTo>
                  <a:lnTo>
                    <a:pt x="1696" y="947"/>
                  </a:lnTo>
                  <a:lnTo>
                    <a:pt x="1684" y="869"/>
                  </a:lnTo>
                  <a:lnTo>
                    <a:pt x="1671" y="798"/>
                  </a:lnTo>
                  <a:lnTo>
                    <a:pt x="1567" y="699"/>
                  </a:lnTo>
                  <a:lnTo>
                    <a:pt x="1525" y="554"/>
                  </a:lnTo>
                  <a:lnTo>
                    <a:pt x="1504" y="441"/>
                  </a:lnTo>
                  <a:lnTo>
                    <a:pt x="1521" y="338"/>
                  </a:lnTo>
                  <a:lnTo>
                    <a:pt x="1552" y="195"/>
                  </a:lnTo>
                  <a:lnTo>
                    <a:pt x="1630" y="198"/>
                  </a:lnTo>
                  <a:lnTo>
                    <a:pt x="1752" y="158"/>
                  </a:lnTo>
                  <a:lnTo>
                    <a:pt x="1849" y="96"/>
                  </a:lnTo>
                  <a:lnTo>
                    <a:pt x="1888" y="51"/>
                  </a:lnTo>
                  <a:lnTo>
                    <a:pt x="1939" y="50"/>
                  </a:lnTo>
                  <a:lnTo>
                    <a:pt x="2023" y="0"/>
                  </a:lnTo>
                  <a:lnTo>
                    <a:pt x="2047" y="42"/>
                  </a:lnTo>
                  <a:lnTo>
                    <a:pt x="2134" y="95"/>
                  </a:lnTo>
                  <a:lnTo>
                    <a:pt x="2175" y="142"/>
                  </a:lnTo>
                  <a:lnTo>
                    <a:pt x="2263" y="161"/>
                  </a:lnTo>
                  <a:lnTo>
                    <a:pt x="2344" y="174"/>
                  </a:lnTo>
                  <a:lnTo>
                    <a:pt x="2455" y="184"/>
                  </a:lnTo>
                  <a:lnTo>
                    <a:pt x="2564" y="143"/>
                  </a:lnTo>
                  <a:lnTo>
                    <a:pt x="2631" y="180"/>
                  </a:lnTo>
                  <a:lnTo>
                    <a:pt x="2694" y="192"/>
                  </a:lnTo>
                  <a:lnTo>
                    <a:pt x="2653" y="320"/>
                  </a:lnTo>
                  <a:lnTo>
                    <a:pt x="2641" y="453"/>
                  </a:lnTo>
                  <a:lnTo>
                    <a:pt x="2738" y="536"/>
                  </a:lnTo>
                  <a:lnTo>
                    <a:pt x="2853" y="579"/>
                  </a:lnTo>
                  <a:lnTo>
                    <a:pt x="2908" y="654"/>
                  </a:lnTo>
                  <a:lnTo>
                    <a:pt x="2983" y="727"/>
                  </a:lnTo>
                  <a:lnTo>
                    <a:pt x="2983" y="826"/>
                  </a:lnTo>
                  <a:lnTo>
                    <a:pt x="3026" y="925"/>
                  </a:lnTo>
                  <a:lnTo>
                    <a:pt x="3026" y="1074"/>
                  </a:lnTo>
                  <a:lnTo>
                    <a:pt x="3026" y="1123"/>
                  </a:lnTo>
                  <a:lnTo>
                    <a:pt x="3026" y="1272"/>
                  </a:lnTo>
                  <a:lnTo>
                    <a:pt x="3026" y="1272"/>
                  </a:lnTo>
                  <a:lnTo>
                    <a:pt x="3026" y="1420"/>
                  </a:lnTo>
                  <a:lnTo>
                    <a:pt x="3026" y="1518"/>
                  </a:lnTo>
                  <a:lnTo>
                    <a:pt x="2983" y="1568"/>
                  </a:lnTo>
                  <a:lnTo>
                    <a:pt x="2951" y="1633"/>
                  </a:lnTo>
                  <a:lnTo>
                    <a:pt x="2896" y="1716"/>
                  </a:lnTo>
                  <a:lnTo>
                    <a:pt x="2836" y="1799"/>
                  </a:lnTo>
                  <a:lnTo>
                    <a:pt x="2787" y="1854"/>
                  </a:lnTo>
                  <a:lnTo>
                    <a:pt x="2751" y="1958"/>
                  </a:lnTo>
                  <a:lnTo>
                    <a:pt x="2672" y="2042"/>
                  </a:lnTo>
                  <a:lnTo>
                    <a:pt x="2605" y="2097"/>
                  </a:lnTo>
                  <a:lnTo>
                    <a:pt x="2569" y="2201"/>
                  </a:lnTo>
                  <a:lnTo>
                    <a:pt x="2550" y="2310"/>
                  </a:lnTo>
                  <a:lnTo>
                    <a:pt x="2538" y="2409"/>
                  </a:lnTo>
                  <a:lnTo>
                    <a:pt x="2574" y="2500"/>
                  </a:lnTo>
                  <a:lnTo>
                    <a:pt x="2665" y="2486"/>
                  </a:lnTo>
                  <a:lnTo>
                    <a:pt x="2733" y="2472"/>
                  </a:lnTo>
                  <a:lnTo>
                    <a:pt x="2824" y="2542"/>
                  </a:lnTo>
                  <a:lnTo>
                    <a:pt x="2884" y="2646"/>
                  </a:lnTo>
                  <a:lnTo>
                    <a:pt x="2920" y="2756"/>
                  </a:lnTo>
                  <a:lnTo>
                    <a:pt x="2981" y="2888"/>
                  </a:lnTo>
                  <a:lnTo>
                    <a:pt x="3026" y="3003"/>
                  </a:lnTo>
                  <a:lnTo>
                    <a:pt x="3026" y="3151"/>
                  </a:lnTo>
                  <a:lnTo>
                    <a:pt x="3011" y="3270"/>
                  </a:lnTo>
                  <a:lnTo>
                    <a:pt x="2983" y="3399"/>
                  </a:lnTo>
                  <a:lnTo>
                    <a:pt x="3026" y="3546"/>
                  </a:lnTo>
                  <a:lnTo>
                    <a:pt x="3026" y="3596"/>
                  </a:lnTo>
                  <a:lnTo>
                    <a:pt x="2983" y="3695"/>
                  </a:lnTo>
                  <a:lnTo>
                    <a:pt x="2940" y="3795"/>
                  </a:lnTo>
                  <a:lnTo>
                    <a:pt x="2853" y="3894"/>
                  </a:lnTo>
                  <a:lnTo>
                    <a:pt x="2767" y="3993"/>
                  </a:lnTo>
                  <a:lnTo>
                    <a:pt x="2723" y="4092"/>
                  </a:lnTo>
                  <a:lnTo>
                    <a:pt x="2723" y="4141"/>
                  </a:lnTo>
                  <a:lnTo>
                    <a:pt x="2680" y="4190"/>
                  </a:lnTo>
                  <a:lnTo>
                    <a:pt x="2637" y="4239"/>
                  </a:lnTo>
                  <a:lnTo>
                    <a:pt x="2594" y="4338"/>
                  </a:lnTo>
                  <a:lnTo>
                    <a:pt x="2490" y="4443"/>
                  </a:lnTo>
                  <a:lnTo>
                    <a:pt x="2377" y="4487"/>
                  </a:lnTo>
                  <a:lnTo>
                    <a:pt x="2301" y="4463"/>
                  </a:lnTo>
                  <a:lnTo>
                    <a:pt x="2240" y="4429"/>
                  </a:lnTo>
                  <a:lnTo>
                    <a:pt x="2204" y="4311"/>
                  </a:lnTo>
                  <a:lnTo>
                    <a:pt x="2160" y="4190"/>
                  </a:lnTo>
                  <a:lnTo>
                    <a:pt x="2053" y="4061"/>
                  </a:lnTo>
                  <a:lnTo>
                    <a:pt x="1950" y="3922"/>
                  </a:lnTo>
                  <a:lnTo>
                    <a:pt x="1858" y="3795"/>
                  </a:lnTo>
                  <a:lnTo>
                    <a:pt x="1728" y="3695"/>
                  </a:lnTo>
                  <a:lnTo>
                    <a:pt x="1640" y="3631"/>
                  </a:lnTo>
                  <a:lnTo>
                    <a:pt x="1543" y="3638"/>
                  </a:lnTo>
                  <a:lnTo>
                    <a:pt x="1468" y="3695"/>
                  </a:lnTo>
                  <a:lnTo>
                    <a:pt x="1397" y="3756"/>
                  </a:lnTo>
                  <a:lnTo>
                    <a:pt x="1342" y="3846"/>
                  </a:lnTo>
                  <a:lnTo>
                    <a:pt x="1252" y="3894"/>
                  </a:lnTo>
                  <a:lnTo>
                    <a:pt x="1081" y="3880"/>
                  </a:lnTo>
                  <a:lnTo>
                    <a:pt x="1020" y="3846"/>
                  </a:lnTo>
                  <a:lnTo>
                    <a:pt x="936" y="3846"/>
                  </a:lnTo>
                  <a:lnTo>
                    <a:pt x="838" y="3901"/>
                  </a:lnTo>
                  <a:lnTo>
                    <a:pt x="777" y="3978"/>
                  </a:lnTo>
                  <a:lnTo>
                    <a:pt x="690" y="4042"/>
                  </a:lnTo>
                  <a:lnTo>
                    <a:pt x="608" y="4144"/>
                  </a:lnTo>
                  <a:lnTo>
                    <a:pt x="468" y="4151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1" name="Freeform 75">
              <a:extLst>
                <a:ext uri="{FF2B5EF4-FFF2-40B4-BE49-F238E27FC236}">
                  <a16:creationId xmlns:a16="http://schemas.microsoft.com/office/drawing/2014/main" id="{CF606C64-D96D-FC27-C275-96BF98C0E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373" y="2995613"/>
              <a:ext cx="909637" cy="1547812"/>
            </a:xfrm>
            <a:custGeom>
              <a:avLst/>
              <a:gdLst>
                <a:gd name="T0" fmla="*/ 588 w 2865"/>
                <a:gd name="T1" fmla="*/ 1532 h 4877"/>
                <a:gd name="T2" fmla="*/ 465 w 2865"/>
                <a:gd name="T3" fmla="*/ 1919 h 4877"/>
                <a:gd name="T4" fmla="*/ 245 w 2865"/>
                <a:gd name="T5" fmla="*/ 2015 h 4877"/>
                <a:gd name="T6" fmla="*/ 119 w 2865"/>
                <a:gd name="T7" fmla="*/ 2193 h 4877"/>
                <a:gd name="T8" fmla="*/ 192 w 2865"/>
                <a:gd name="T9" fmla="*/ 2408 h 4877"/>
                <a:gd name="T10" fmla="*/ 377 w 2865"/>
                <a:gd name="T11" fmla="*/ 2537 h 4877"/>
                <a:gd name="T12" fmla="*/ 447 w 2865"/>
                <a:gd name="T13" fmla="*/ 2708 h 4877"/>
                <a:gd name="T14" fmla="*/ 491 w 2865"/>
                <a:gd name="T15" fmla="*/ 3395 h 4877"/>
                <a:gd name="T16" fmla="*/ 416 w 2865"/>
                <a:gd name="T17" fmla="*/ 3512 h 4877"/>
                <a:gd name="T18" fmla="*/ 302 w 2865"/>
                <a:gd name="T19" fmla="*/ 3674 h 4877"/>
                <a:gd name="T20" fmla="*/ 213 w 2865"/>
                <a:gd name="T21" fmla="*/ 3837 h 4877"/>
                <a:gd name="T22" fmla="*/ 69 w 2865"/>
                <a:gd name="T23" fmla="*/ 3975 h 4877"/>
                <a:gd name="T24" fmla="*/ 12 w 2865"/>
                <a:gd name="T25" fmla="*/ 4190 h 4877"/>
                <a:gd name="T26" fmla="*/ 39 w 2865"/>
                <a:gd name="T27" fmla="*/ 4376 h 4877"/>
                <a:gd name="T28" fmla="*/ 197 w 2865"/>
                <a:gd name="T29" fmla="*/ 4349 h 4877"/>
                <a:gd name="T30" fmla="*/ 347 w 2865"/>
                <a:gd name="T31" fmla="*/ 4524 h 4877"/>
                <a:gd name="T32" fmla="*/ 449 w 2865"/>
                <a:gd name="T33" fmla="*/ 4773 h 4877"/>
                <a:gd name="T34" fmla="*/ 657 w 2865"/>
                <a:gd name="T35" fmla="*/ 4838 h 4877"/>
                <a:gd name="T36" fmla="*/ 858 w 2865"/>
                <a:gd name="T37" fmla="*/ 4712 h 4877"/>
                <a:gd name="T38" fmla="*/ 858 w 2865"/>
                <a:gd name="T39" fmla="*/ 4466 h 4877"/>
                <a:gd name="T40" fmla="*/ 916 w 2865"/>
                <a:gd name="T41" fmla="*/ 4259 h 4877"/>
                <a:gd name="T42" fmla="*/ 976 w 2865"/>
                <a:gd name="T43" fmla="*/ 3982 h 4877"/>
                <a:gd name="T44" fmla="*/ 1046 w 2865"/>
                <a:gd name="T45" fmla="*/ 3664 h 4877"/>
                <a:gd name="T46" fmla="*/ 1254 w 2865"/>
                <a:gd name="T47" fmla="*/ 3474 h 4877"/>
                <a:gd name="T48" fmla="*/ 1523 w 2865"/>
                <a:gd name="T49" fmla="*/ 3269 h 4877"/>
                <a:gd name="T50" fmla="*/ 1656 w 2865"/>
                <a:gd name="T51" fmla="*/ 3228 h 4877"/>
                <a:gd name="T52" fmla="*/ 1802 w 2865"/>
                <a:gd name="T53" fmla="*/ 2959 h 4877"/>
                <a:gd name="T54" fmla="*/ 1826 w 2865"/>
                <a:gd name="T55" fmla="*/ 2675 h 4877"/>
                <a:gd name="T56" fmla="*/ 1869 w 2865"/>
                <a:gd name="T57" fmla="*/ 2329 h 4877"/>
                <a:gd name="T58" fmla="*/ 2010 w 2865"/>
                <a:gd name="T59" fmla="*/ 2109 h 4877"/>
                <a:gd name="T60" fmla="*/ 2260 w 2865"/>
                <a:gd name="T61" fmla="*/ 2070 h 4877"/>
                <a:gd name="T62" fmla="*/ 2309 w 2865"/>
                <a:gd name="T63" fmla="*/ 1887 h 4877"/>
                <a:gd name="T64" fmla="*/ 2259 w 2865"/>
                <a:gd name="T65" fmla="*/ 1636 h 4877"/>
                <a:gd name="T66" fmla="*/ 2315 w 2865"/>
                <a:gd name="T67" fmla="*/ 1372 h 4877"/>
                <a:gd name="T68" fmla="*/ 2503 w 2865"/>
                <a:gd name="T69" fmla="*/ 1197 h 4877"/>
                <a:gd name="T70" fmla="*/ 2649 w 2865"/>
                <a:gd name="T71" fmla="*/ 943 h 4877"/>
                <a:gd name="T72" fmla="*/ 2605 w 2865"/>
                <a:gd name="T73" fmla="*/ 646 h 4877"/>
                <a:gd name="T74" fmla="*/ 2735 w 2865"/>
                <a:gd name="T75" fmla="*/ 399 h 4877"/>
                <a:gd name="T76" fmla="*/ 2822 w 2865"/>
                <a:gd name="T77" fmla="*/ 201 h 4877"/>
                <a:gd name="T78" fmla="*/ 2786 w 2865"/>
                <a:gd name="T79" fmla="*/ 0 h 4877"/>
                <a:gd name="T80" fmla="*/ 2588 w 2865"/>
                <a:gd name="T81" fmla="*/ 70 h 4877"/>
                <a:gd name="T82" fmla="*/ 2427 w 2865"/>
                <a:gd name="T83" fmla="*/ 265 h 4877"/>
                <a:gd name="T84" fmla="*/ 2338 w 2865"/>
                <a:gd name="T85" fmla="*/ 573 h 4877"/>
                <a:gd name="T86" fmla="*/ 2187 w 2865"/>
                <a:gd name="T87" fmla="*/ 768 h 4877"/>
                <a:gd name="T88" fmla="*/ 1994 w 2865"/>
                <a:gd name="T89" fmla="*/ 663 h 4877"/>
                <a:gd name="T90" fmla="*/ 1780 w 2865"/>
                <a:gd name="T91" fmla="*/ 664 h 4877"/>
                <a:gd name="T92" fmla="*/ 1516 w 2865"/>
                <a:gd name="T93" fmla="*/ 713 h 4877"/>
                <a:gd name="T94" fmla="*/ 1260 w 2865"/>
                <a:gd name="T95" fmla="*/ 812 h 4877"/>
                <a:gd name="T96" fmla="*/ 996 w 2865"/>
                <a:gd name="T97" fmla="*/ 1013 h 4877"/>
                <a:gd name="T98" fmla="*/ 869 w 2865"/>
                <a:gd name="T99" fmla="*/ 1257 h 4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65" h="4877">
                  <a:moveTo>
                    <a:pt x="692" y="1358"/>
                  </a:moveTo>
                  <a:lnTo>
                    <a:pt x="588" y="1532"/>
                  </a:lnTo>
                  <a:lnTo>
                    <a:pt x="542" y="1749"/>
                  </a:lnTo>
                  <a:lnTo>
                    <a:pt x="465" y="1919"/>
                  </a:lnTo>
                  <a:lnTo>
                    <a:pt x="375" y="1971"/>
                  </a:lnTo>
                  <a:lnTo>
                    <a:pt x="245" y="2015"/>
                  </a:lnTo>
                  <a:lnTo>
                    <a:pt x="158" y="2070"/>
                  </a:lnTo>
                  <a:lnTo>
                    <a:pt x="119" y="2193"/>
                  </a:lnTo>
                  <a:lnTo>
                    <a:pt x="107" y="2330"/>
                  </a:lnTo>
                  <a:lnTo>
                    <a:pt x="192" y="2408"/>
                  </a:lnTo>
                  <a:lnTo>
                    <a:pt x="318" y="2457"/>
                  </a:lnTo>
                  <a:lnTo>
                    <a:pt x="377" y="2537"/>
                  </a:lnTo>
                  <a:lnTo>
                    <a:pt x="449" y="2604"/>
                  </a:lnTo>
                  <a:lnTo>
                    <a:pt x="447" y="2708"/>
                  </a:lnTo>
                  <a:lnTo>
                    <a:pt x="491" y="2802"/>
                  </a:lnTo>
                  <a:lnTo>
                    <a:pt x="491" y="3395"/>
                  </a:lnTo>
                  <a:lnTo>
                    <a:pt x="446" y="3447"/>
                  </a:lnTo>
                  <a:lnTo>
                    <a:pt x="416" y="3512"/>
                  </a:lnTo>
                  <a:lnTo>
                    <a:pt x="360" y="3596"/>
                  </a:lnTo>
                  <a:lnTo>
                    <a:pt x="302" y="3674"/>
                  </a:lnTo>
                  <a:lnTo>
                    <a:pt x="249" y="3738"/>
                  </a:lnTo>
                  <a:lnTo>
                    <a:pt x="213" y="3837"/>
                  </a:lnTo>
                  <a:lnTo>
                    <a:pt x="141" y="3917"/>
                  </a:lnTo>
                  <a:lnTo>
                    <a:pt x="69" y="3975"/>
                  </a:lnTo>
                  <a:lnTo>
                    <a:pt x="30" y="4080"/>
                  </a:lnTo>
                  <a:lnTo>
                    <a:pt x="12" y="4190"/>
                  </a:lnTo>
                  <a:lnTo>
                    <a:pt x="0" y="4287"/>
                  </a:lnTo>
                  <a:lnTo>
                    <a:pt x="39" y="4376"/>
                  </a:lnTo>
                  <a:lnTo>
                    <a:pt x="116" y="4365"/>
                  </a:lnTo>
                  <a:lnTo>
                    <a:pt x="197" y="4349"/>
                  </a:lnTo>
                  <a:lnTo>
                    <a:pt x="291" y="4421"/>
                  </a:lnTo>
                  <a:lnTo>
                    <a:pt x="347" y="4524"/>
                  </a:lnTo>
                  <a:lnTo>
                    <a:pt x="384" y="4632"/>
                  </a:lnTo>
                  <a:lnTo>
                    <a:pt x="449" y="4773"/>
                  </a:lnTo>
                  <a:lnTo>
                    <a:pt x="491" y="4877"/>
                  </a:lnTo>
                  <a:lnTo>
                    <a:pt x="657" y="4838"/>
                  </a:lnTo>
                  <a:lnTo>
                    <a:pt x="754" y="4752"/>
                  </a:lnTo>
                  <a:lnTo>
                    <a:pt x="858" y="4712"/>
                  </a:lnTo>
                  <a:lnTo>
                    <a:pt x="865" y="4601"/>
                  </a:lnTo>
                  <a:lnTo>
                    <a:pt x="858" y="4466"/>
                  </a:lnTo>
                  <a:lnTo>
                    <a:pt x="913" y="4355"/>
                  </a:lnTo>
                  <a:lnTo>
                    <a:pt x="916" y="4259"/>
                  </a:lnTo>
                  <a:lnTo>
                    <a:pt x="934" y="4133"/>
                  </a:lnTo>
                  <a:lnTo>
                    <a:pt x="976" y="3982"/>
                  </a:lnTo>
                  <a:lnTo>
                    <a:pt x="1031" y="3807"/>
                  </a:lnTo>
                  <a:lnTo>
                    <a:pt x="1046" y="3664"/>
                  </a:lnTo>
                  <a:lnTo>
                    <a:pt x="1133" y="3516"/>
                  </a:lnTo>
                  <a:lnTo>
                    <a:pt x="1254" y="3474"/>
                  </a:lnTo>
                  <a:lnTo>
                    <a:pt x="1379" y="3371"/>
                  </a:lnTo>
                  <a:lnTo>
                    <a:pt x="1523" y="3269"/>
                  </a:lnTo>
                  <a:lnTo>
                    <a:pt x="1600" y="3260"/>
                  </a:lnTo>
                  <a:lnTo>
                    <a:pt x="1656" y="3228"/>
                  </a:lnTo>
                  <a:lnTo>
                    <a:pt x="1739" y="3071"/>
                  </a:lnTo>
                  <a:lnTo>
                    <a:pt x="1802" y="2959"/>
                  </a:lnTo>
                  <a:lnTo>
                    <a:pt x="1826" y="2823"/>
                  </a:lnTo>
                  <a:lnTo>
                    <a:pt x="1826" y="2675"/>
                  </a:lnTo>
                  <a:lnTo>
                    <a:pt x="1869" y="2477"/>
                  </a:lnTo>
                  <a:lnTo>
                    <a:pt x="1869" y="2329"/>
                  </a:lnTo>
                  <a:lnTo>
                    <a:pt x="1927" y="2181"/>
                  </a:lnTo>
                  <a:lnTo>
                    <a:pt x="2010" y="2109"/>
                  </a:lnTo>
                  <a:lnTo>
                    <a:pt x="2129" y="2082"/>
                  </a:lnTo>
                  <a:lnTo>
                    <a:pt x="2260" y="2070"/>
                  </a:lnTo>
                  <a:lnTo>
                    <a:pt x="2322" y="1959"/>
                  </a:lnTo>
                  <a:lnTo>
                    <a:pt x="2309" y="1887"/>
                  </a:lnTo>
                  <a:lnTo>
                    <a:pt x="2309" y="1745"/>
                  </a:lnTo>
                  <a:lnTo>
                    <a:pt x="2259" y="1636"/>
                  </a:lnTo>
                  <a:lnTo>
                    <a:pt x="2302" y="1488"/>
                  </a:lnTo>
                  <a:lnTo>
                    <a:pt x="2315" y="1372"/>
                  </a:lnTo>
                  <a:lnTo>
                    <a:pt x="2389" y="1290"/>
                  </a:lnTo>
                  <a:lnTo>
                    <a:pt x="2503" y="1197"/>
                  </a:lnTo>
                  <a:lnTo>
                    <a:pt x="2579" y="1015"/>
                  </a:lnTo>
                  <a:lnTo>
                    <a:pt x="2649" y="943"/>
                  </a:lnTo>
                  <a:lnTo>
                    <a:pt x="2642" y="776"/>
                  </a:lnTo>
                  <a:lnTo>
                    <a:pt x="2605" y="646"/>
                  </a:lnTo>
                  <a:lnTo>
                    <a:pt x="2649" y="498"/>
                  </a:lnTo>
                  <a:lnTo>
                    <a:pt x="2735" y="399"/>
                  </a:lnTo>
                  <a:lnTo>
                    <a:pt x="2808" y="317"/>
                  </a:lnTo>
                  <a:lnTo>
                    <a:pt x="2822" y="201"/>
                  </a:lnTo>
                  <a:lnTo>
                    <a:pt x="2865" y="53"/>
                  </a:lnTo>
                  <a:lnTo>
                    <a:pt x="2786" y="0"/>
                  </a:lnTo>
                  <a:lnTo>
                    <a:pt x="2693" y="38"/>
                  </a:lnTo>
                  <a:lnTo>
                    <a:pt x="2588" y="70"/>
                  </a:lnTo>
                  <a:lnTo>
                    <a:pt x="2513" y="120"/>
                  </a:lnTo>
                  <a:lnTo>
                    <a:pt x="2427" y="265"/>
                  </a:lnTo>
                  <a:lnTo>
                    <a:pt x="2383" y="366"/>
                  </a:lnTo>
                  <a:lnTo>
                    <a:pt x="2338" y="573"/>
                  </a:lnTo>
                  <a:lnTo>
                    <a:pt x="2297" y="713"/>
                  </a:lnTo>
                  <a:lnTo>
                    <a:pt x="2187" y="768"/>
                  </a:lnTo>
                  <a:lnTo>
                    <a:pt x="2101" y="746"/>
                  </a:lnTo>
                  <a:lnTo>
                    <a:pt x="1994" y="663"/>
                  </a:lnTo>
                  <a:lnTo>
                    <a:pt x="1862" y="614"/>
                  </a:lnTo>
                  <a:lnTo>
                    <a:pt x="1780" y="664"/>
                  </a:lnTo>
                  <a:lnTo>
                    <a:pt x="1650" y="664"/>
                  </a:lnTo>
                  <a:lnTo>
                    <a:pt x="1516" y="713"/>
                  </a:lnTo>
                  <a:lnTo>
                    <a:pt x="1386" y="812"/>
                  </a:lnTo>
                  <a:lnTo>
                    <a:pt x="1260" y="812"/>
                  </a:lnTo>
                  <a:lnTo>
                    <a:pt x="1087" y="887"/>
                  </a:lnTo>
                  <a:lnTo>
                    <a:pt x="996" y="1013"/>
                  </a:lnTo>
                  <a:lnTo>
                    <a:pt x="912" y="1157"/>
                  </a:lnTo>
                  <a:lnTo>
                    <a:pt x="869" y="1257"/>
                  </a:lnTo>
                  <a:lnTo>
                    <a:pt x="692" y="1358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2" name="Freeform 76">
              <a:extLst>
                <a:ext uri="{FF2B5EF4-FFF2-40B4-BE49-F238E27FC236}">
                  <a16:creationId xmlns:a16="http://schemas.microsoft.com/office/drawing/2014/main" id="{4C47B117-463D-BB5B-CFCA-E21079132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723" y="3770313"/>
              <a:ext cx="717550" cy="931862"/>
            </a:xfrm>
            <a:custGeom>
              <a:avLst/>
              <a:gdLst>
                <a:gd name="T0" fmla="*/ 2413 w 2456"/>
                <a:gd name="T1" fmla="*/ 1612 h 3239"/>
                <a:gd name="T2" fmla="*/ 2264 w 2456"/>
                <a:gd name="T3" fmla="*/ 1500 h 3239"/>
                <a:gd name="T4" fmla="*/ 2080 w 2456"/>
                <a:gd name="T5" fmla="*/ 1336 h 3239"/>
                <a:gd name="T6" fmla="*/ 2040 w 2456"/>
                <a:gd name="T7" fmla="*/ 1177 h 3239"/>
                <a:gd name="T8" fmla="*/ 2033 w 2456"/>
                <a:gd name="T9" fmla="*/ 1013 h 3239"/>
                <a:gd name="T10" fmla="*/ 1984 w 2456"/>
                <a:gd name="T11" fmla="*/ 847 h 3239"/>
                <a:gd name="T12" fmla="*/ 1997 w 2456"/>
                <a:gd name="T13" fmla="*/ 548 h 3239"/>
                <a:gd name="T14" fmla="*/ 1971 w 2456"/>
                <a:gd name="T15" fmla="*/ 295 h 3239"/>
                <a:gd name="T16" fmla="*/ 1751 w 2456"/>
                <a:gd name="T17" fmla="*/ 304 h 3239"/>
                <a:gd name="T18" fmla="*/ 1561 w 2456"/>
                <a:gd name="T19" fmla="*/ 138 h 3239"/>
                <a:gd name="T20" fmla="*/ 1324 w 2456"/>
                <a:gd name="T21" fmla="*/ 6 h 3239"/>
                <a:gd name="T22" fmla="*/ 1186 w 2456"/>
                <a:gd name="T23" fmla="*/ 77 h 3239"/>
                <a:gd name="T24" fmla="*/ 993 w 2456"/>
                <a:gd name="T25" fmla="*/ 261 h 3239"/>
                <a:gd name="T26" fmla="*/ 835 w 2456"/>
                <a:gd name="T27" fmla="*/ 479 h 3239"/>
                <a:gd name="T28" fmla="*/ 574 w 2456"/>
                <a:gd name="T29" fmla="*/ 628 h 3239"/>
                <a:gd name="T30" fmla="*/ 380 w 2456"/>
                <a:gd name="T31" fmla="*/ 538 h 3239"/>
                <a:gd name="T32" fmla="*/ 153 w 2456"/>
                <a:gd name="T33" fmla="*/ 738 h 3239"/>
                <a:gd name="T34" fmla="*/ 67 w 2456"/>
                <a:gd name="T35" fmla="*/ 894 h 3239"/>
                <a:gd name="T36" fmla="*/ 21 w 2456"/>
                <a:gd name="T37" fmla="*/ 1058 h 3239"/>
                <a:gd name="T38" fmla="*/ 21 w 2456"/>
                <a:gd name="T39" fmla="*/ 1167 h 3239"/>
                <a:gd name="T40" fmla="*/ 21 w 2456"/>
                <a:gd name="T41" fmla="*/ 1385 h 3239"/>
                <a:gd name="T42" fmla="*/ 30 w 2456"/>
                <a:gd name="T43" fmla="*/ 1538 h 3239"/>
                <a:gd name="T44" fmla="*/ 15 w 2456"/>
                <a:gd name="T45" fmla="*/ 1721 h 3239"/>
                <a:gd name="T46" fmla="*/ 21 w 2456"/>
                <a:gd name="T47" fmla="*/ 1931 h 3239"/>
                <a:gd name="T48" fmla="*/ 161 w 2456"/>
                <a:gd name="T49" fmla="*/ 2040 h 3239"/>
                <a:gd name="T50" fmla="*/ 209 w 2456"/>
                <a:gd name="T51" fmla="*/ 2096 h 3239"/>
                <a:gd name="T52" fmla="*/ 218 w 2456"/>
                <a:gd name="T53" fmla="*/ 2281 h 3239"/>
                <a:gd name="T54" fmla="*/ 208 w 2456"/>
                <a:gd name="T55" fmla="*/ 2476 h 3239"/>
                <a:gd name="T56" fmla="*/ 302 w 2456"/>
                <a:gd name="T57" fmla="*/ 2639 h 3239"/>
                <a:gd name="T58" fmla="*/ 396 w 2456"/>
                <a:gd name="T59" fmla="*/ 2748 h 3239"/>
                <a:gd name="T60" fmla="*/ 584 w 2456"/>
                <a:gd name="T61" fmla="*/ 2803 h 3239"/>
                <a:gd name="T62" fmla="*/ 783 w 2456"/>
                <a:gd name="T63" fmla="*/ 2770 h 3239"/>
                <a:gd name="T64" fmla="*/ 1007 w 2456"/>
                <a:gd name="T65" fmla="*/ 2748 h 3239"/>
                <a:gd name="T66" fmla="*/ 1100 w 2456"/>
                <a:gd name="T67" fmla="*/ 2857 h 3239"/>
                <a:gd name="T68" fmla="*/ 1194 w 2456"/>
                <a:gd name="T69" fmla="*/ 2966 h 3239"/>
                <a:gd name="T70" fmla="*/ 1241 w 2456"/>
                <a:gd name="T71" fmla="*/ 3075 h 3239"/>
                <a:gd name="T72" fmla="*/ 1288 w 2456"/>
                <a:gd name="T73" fmla="*/ 3239 h 3239"/>
                <a:gd name="T74" fmla="*/ 1570 w 2456"/>
                <a:gd name="T75" fmla="*/ 3184 h 3239"/>
                <a:gd name="T76" fmla="*/ 1805 w 2456"/>
                <a:gd name="T77" fmla="*/ 3021 h 3239"/>
                <a:gd name="T78" fmla="*/ 1776 w 2456"/>
                <a:gd name="T79" fmla="*/ 2753 h 3239"/>
                <a:gd name="T80" fmla="*/ 1836 w 2456"/>
                <a:gd name="T81" fmla="*/ 2464 h 3239"/>
                <a:gd name="T82" fmla="*/ 1671 w 2456"/>
                <a:gd name="T83" fmla="*/ 2299 h 3239"/>
                <a:gd name="T84" fmla="*/ 1852 w 2456"/>
                <a:gd name="T85" fmla="*/ 2149 h 3239"/>
                <a:gd name="T86" fmla="*/ 2047 w 2456"/>
                <a:gd name="T87" fmla="*/ 2054 h 3239"/>
                <a:gd name="T88" fmla="*/ 2250 w 2456"/>
                <a:gd name="T89" fmla="*/ 1993 h 3239"/>
                <a:gd name="T90" fmla="*/ 2456 w 2456"/>
                <a:gd name="T91" fmla="*/ 1723 h 3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56" h="3239">
                  <a:moveTo>
                    <a:pt x="2456" y="1723"/>
                  </a:moveTo>
                  <a:lnTo>
                    <a:pt x="2413" y="1612"/>
                  </a:lnTo>
                  <a:lnTo>
                    <a:pt x="2311" y="1500"/>
                  </a:lnTo>
                  <a:lnTo>
                    <a:pt x="2264" y="1500"/>
                  </a:lnTo>
                  <a:lnTo>
                    <a:pt x="2180" y="1404"/>
                  </a:lnTo>
                  <a:lnTo>
                    <a:pt x="2080" y="1336"/>
                  </a:lnTo>
                  <a:lnTo>
                    <a:pt x="2033" y="1279"/>
                  </a:lnTo>
                  <a:lnTo>
                    <a:pt x="2040" y="1177"/>
                  </a:lnTo>
                  <a:lnTo>
                    <a:pt x="2040" y="1079"/>
                  </a:lnTo>
                  <a:lnTo>
                    <a:pt x="2033" y="1013"/>
                  </a:lnTo>
                  <a:lnTo>
                    <a:pt x="2075" y="899"/>
                  </a:lnTo>
                  <a:lnTo>
                    <a:pt x="1984" y="847"/>
                  </a:lnTo>
                  <a:lnTo>
                    <a:pt x="1951" y="689"/>
                  </a:lnTo>
                  <a:lnTo>
                    <a:pt x="1997" y="548"/>
                  </a:lnTo>
                  <a:lnTo>
                    <a:pt x="2080" y="409"/>
                  </a:lnTo>
                  <a:lnTo>
                    <a:pt x="1971" y="295"/>
                  </a:lnTo>
                  <a:lnTo>
                    <a:pt x="1884" y="331"/>
                  </a:lnTo>
                  <a:lnTo>
                    <a:pt x="1751" y="304"/>
                  </a:lnTo>
                  <a:lnTo>
                    <a:pt x="1697" y="244"/>
                  </a:lnTo>
                  <a:lnTo>
                    <a:pt x="1561" y="138"/>
                  </a:lnTo>
                  <a:lnTo>
                    <a:pt x="1393" y="50"/>
                  </a:lnTo>
                  <a:lnTo>
                    <a:pt x="1324" y="6"/>
                  </a:lnTo>
                  <a:lnTo>
                    <a:pt x="1210" y="0"/>
                  </a:lnTo>
                  <a:lnTo>
                    <a:pt x="1186" y="77"/>
                  </a:lnTo>
                  <a:lnTo>
                    <a:pt x="1166" y="279"/>
                  </a:lnTo>
                  <a:lnTo>
                    <a:pt x="993" y="261"/>
                  </a:lnTo>
                  <a:lnTo>
                    <a:pt x="951" y="299"/>
                  </a:lnTo>
                  <a:lnTo>
                    <a:pt x="835" y="479"/>
                  </a:lnTo>
                  <a:lnTo>
                    <a:pt x="694" y="487"/>
                  </a:lnTo>
                  <a:lnTo>
                    <a:pt x="574" y="628"/>
                  </a:lnTo>
                  <a:lnTo>
                    <a:pt x="480" y="549"/>
                  </a:lnTo>
                  <a:lnTo>
                    <a:pt x="380" y="538"/>
                  </a:lnTo>
                  <a:lnTo>
                    <a:pt x="296" y="626"/>
                  </a:lnTo>
                  <a:lnTo>
                    <a:pt x="153" y="738"/>
                  </a:lnTo>
                  <a:lnTo>
                    <a:pt x="107" y="737"/>
                  </a:lnTo>
                  <a:lnTo>
                    <a:pt x="67" y="894"/>
                  </a:lnTo>
                  <a:lnTo>
                    <a:pt x="22" y="952"/>
                  </a:lnTo>
                  <a:lnTo>
                    <a:pt x="21" y="1058"/>
                  </a:lnTo>
                  <a:lnTo>
                    <a:pt x="21" y="1112"/>
                  </a:lnTo>
                  <a:lnTo>
                    <a:pt x="21" y="1167"/>
                  </a:lnTo>
                  <a:lnTo>
                    <a:pt x="0" y="1276"/>
                  </a:lnTo>
                  <a:lnTo>
                    <a:pt x="21" y="1385"/>
                  </a:lnTo>
                  <a:lnTo>
                    <a:pt x="21" y="1439"/>
                  </a:lnTo>
                  <a:lnTo>
                    <a:pt x="30" y="1538"/>
                  </a:lnTo>
                  <a:lnTo>
                    <a:pt x="21" y="1604"/>
                  </a:lnTo>
                  <a:lnTo>
                    <a:pt x="15" y="1721"/>
                  </a:lnTo>
                  <a:lnTo>
                    <a:pt x="30" y="1809"/>
                  </a:lnTo>
                  <a:lnTo>
                    <a:pt x="21" y="1931"/>
                  </a:lnTo>
                  <a:lnTo>
                    <a:pt x="67" y="1985"/>
                  </a:lnTo>
                  <a:lnTo>
                    <a:pt x="161" y="2040"/>
                  </a:lnTo>
                  <a:lnTo>
                    <a:pt x="161" y="2040"/>
                  </a:lnTo>
                  <a:lnTo>
                    <a:pt x="209" y="2096"/>
                  </a:lnTo>
                  <a:lnTo>
                    <a:pt x="208" y="2203"/>
                  </a:lnTo>
                  <a:lnTo>
                    <a:pt x="218" y="2281"/>
                  </a:lnTo>
                  <a:lnTo>
                    <a:pt x="208" y="2367"/>
                  </a:lnTo>
                  <a:lnTo>
                    <a:pt x="208" y="2476"/>
                  </a:lnTo>
                  <a:lnTo>
                    <a:pt x="255" y="2530"/>
                  </a:lnTo>
                  <a:lnTo>
                    <a:pt x="302" y="2639"/>
                  </a:lnTo>
                  <a:lnTo>
                    <a:pt x="349" y="2694"/>
                  </a:lnTo>
                  <a:lnTo>
                    <a:pt x="396" y="2748"/>
                  </a:lnTo>
                  <a:lnTo>
                    <a:pt x="490" y="2748"/>
                  </a:lnTo>
                  <a:lnTo>
                    <a:pt x="584" y="2803"/>
                  </a:lnTo>
                  <a:lnTo>
                    <a:pt x="677" y="2789"/>
                  </a:lnTo>
                  <a:lnTo>
                    <a:pt x="783" y="2770"/>
                  </a:lnTo>
                  <a:lnTo>
                    <a:pt x="903" y="2745"/>
                  </a:lnTo>
                  <a:lnTo>
                    <a:pt x="1007" y="2748"/>
                  </a:lnTo>
                  <a:lnTo>
                    <a:pt x="1061" y="2806"/>
                  </a:lnTo>
                  <a:lnTo>
                    <a:pt x="1100" y="2857"/>
                  </a:lnTo>
                  <a:lnTo>
                    <a:pt x="1159" y="2884"/>
                  </a:lnTo>
                  <a:lnTo>
                    <a:pt x="1194" y="2966"/>
                  </a:lnTo>
                  <a:lnTo>
                    <a:pt x="1194" y="3021"/>
                  </a:lnTo>
                  <a:lnTo>
                    <a:pt x="1241" y="3075"/>
                  </a:lnTo>
                  <a:lnTo>
                    <a:pt x="1249" y="3190"/>
                  </a:lnTo>
                  <a:lnTo>
                    <a:pt x="1288" y="3239"/>
                  </a:lnTo>
                  <a:lnTo>
                    <a:pt x="1429" y="3239"/>
                  </a:lnTo>
                  <a:lnTo>
                    <a:pt x="1570" y="3184"/>
                  </a:lnTo>
                  <a:lnTo>
                    <a:pt x="1746" y="3147"/>
                  </a:lnTo>
                  <a:lnTo>
                    <a:pt x="1805" y="3021"/>
                  </a:lnTo>
                  <a:lnTo>
                    <a:pt x="1758" y="2912"/>
                  </a:lnTo>
                  <a:lnTo>
                    <a:pt x="1776" y="2753"/>
                  </a:lnTo>
                  <a:lnTo>
                    <a:pt x="1822" y="2639"/>
                  </a:lnTo>
                  <a:lnTo>
                    <a:pt x="1836" y="2464"/>
                  </a:lnTo>
                  <a:lnTo>
                    <a:pt x="1710" y="2367"/>
                  </a:lnTo>
                  <a:lnTo>
                    <a:pt x="1671" y="2299"/>
                  </a:lnTo>
                  <a:lnTo>
                    <a:pt x="1663" y="2203"/>
                  </a:lnTo>
                  <a:lnTo>
                    <a:pt x="1852" y="2149"/>
                  </a:lnTo>
                  <a:lnTo>
                    <a:pt x="1946" y="2094"/>
                  </a:lnTo>
                  <a:lnTo>
                    <a:pt x="2047" y="2054"/>
                  </a:lnTo>
                  <a:lnTo>
                    <a:pt x="2138" y="2054"/>
                  </a:lnTo>
                  <a:lnTo>
                    <a:pt x="2250" y="1993"/>
                  </a:lnTo>
                  <a:lnTo>
                    <a:pt x="2321" y="1822"/>
                  </a:lnTo>
                  <a:lnTo>
                    <a:pt x="2456" y="1723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3" name="Freeform 77">
              <a:extLst>
                <a:ext uri="{FF2B5EF4-FFF2-40B4-BE49-F238E27FC236}">
                  <a16:creationId xmlns:a16="http://schemas.microsoft.com/office/drawing/2014/main" id="{2E23B8BF-FBDF-AE5D-ADB2-29251062B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6287" y="4219576"/>
              <a:ext cx="382587" cy="534987"/>
            </a:xfrm>
            <a:custGeom>
              <a:avLst/>
              <a:gdLst>
                <a:gd name="T0" fmla="*/ 1257 w 1306"/>
                <a:gd name="T1" fmla="*/ 1138 h 1859"/>
                <a:gd name="T2" fmla="*/ 1257 w 1306"/>
                <a:gd name="T3" fmla="*/ 1193 h 1859"/>
                <a:gd name="T4" fmla="*/ 1210 w 1306"/>
                <a:gd name="T5" fmla="*/ 1247 h 1859"/>
                <a:gd name="T6" fmla="*/ 1116 w 1306"/>
                <a:gd name="T7" fmla="*/ 1356 h 1859"/>
                <a:gd name="T8" fmla="*/ 1022 w 1306"/>
                <a:gd name="T9" fmla="*/ 1411 h 1859"/>
                <a:gd name="T10" fmla="*/ 928 w 1306"/>
                <a:gd name="T11" fmla="*/ 1465 h 1859"/>
                <a:gd name="T12" fmla="*/ 850 w 1306"/>
                <a:gd name="T13" fmla="*/ 1561 h 1859"/>
                <a:gd name="T14" fmla="*/ 786 w 1306"/>
                <a:gd name="T15" fmla="*/ 1683 h 1859"/>
                <a:gd name="T16" fmla="*/ 751 w 1306"/>
                <a:gd name="T17" fmla="*/ 1779 h 1859"/>
                <a:gd name="T18" fmla="*/ 721 w 1306"/>
                <a:gd name="T19" fmla="*/ 1848 h 1859"/>
                <a:gd name="T20" fmla="*/ 623 w 1306"/>
                <a:gd name="T21" fmla="*/ 1790 h 1859"/>
                <a:gd name="T22" fmla="*/ 484 w 1306"/>
                <a:gd name="T23" fmla="*/ 1836 h 1859"/>
                <a:gd name="T24" fmla="*/ 395 w 1306"/>
                <a:gd name="T25" fmla="*/ 1859 h 1859"/>
                <a:gd name="T26" fmla="*/ 317 w 1306"/>
                <a:gd name="T27" fmla="*/ 1738 h 1859"/>
                <a:gd name="T28" fmla="*/ 222 w 1306"/>
                <a:gd name="T29" fmla="*/ 1574 h 1859"/>
                <a:gd name="T30" fmla="*/ 82 w 1306"/>
                <a:gd name="T31" fmla="*/ 1465 h 1859"/>
                <a:gd name="T32" fmla="*/ 142 w 1306"/>
                <a:gd name="T33" fmla="*/ 1336 h 1859"/>
                <a:gd name="T34" fmla="*/ 96 w 1306"/>
                <a:gd name="T35" fmla="*/ 1225 h 1859"/>
                <a:gd name="T36" fmla="*/ 114 w 1306"/>
                <a:gd name="T37" fmla="*/ 1066 h 1859"/>
                <a:gd name="T38" fmla="*/ 161 w 1306"/>
                <a:gd name="T39" fmla="*/ 953 h 1859"/>
                <a:gd name="T40" fmla="*/ 173 w 1306"/>
                <a:gd name="T41" fmla="*/ 780 h 1859"/>
                <a:gd name="T42" fmla="*/ 49 w 1306"/>
                <a:gd name="T43" fmla="*/ 683 h 1859"/>
                <a:gd name="T44" fmla="*/ 7 w 1306"/>
                <a:gd name="T45" fmla="*/ 611 h 1859"/>
                <a:gd name="T46" fmla="*/ 0 w 1306"/>
                <a:gd name="T47" fmla="*/ 519 h 1859"/>
                <a:gd name="T48" fmla="*/ 187 w 1306"/>
                <a:gd name="T49" fmla="*/ 465 h 1859"/>
                <a:gd name="T50" fmla="*/ 284 w 1306"/>
                <a:gd name="T51" fmla="*/ 409 h 1859"/>
                <a:gd name="T52" fmla="*/ 387 w 1306"/>
                <a:gd name="T53" fmla="*/ 367 h 1859"/>
                <a:gd name="T54" fmla="*/ 476 w 1306"/>
                <a:gd name="T55" fmla="*/ 370 h 1859"/>
                <a:gd name="T56" fmla="*/ 587 w 1306"/>
                <a:gd name="T57" fmla="*/ 304 h 1859"/>
                <a:gd name="T58" fmla="*/ 652 w 1306"/>
                <a:gd name="T59" fmla="*/ 138 h 1859"/>
                <a:gd name="T60" fmla="*/ 791 w 1306"/>
                <a:gd name="T61" fmla="*/ 34 h 1859"/>
                <a:gd name="T62" fmla="*/ 929 w 1306"/>
                <a:gd name="T63" fmla="*/ 31 h 1859"/>
                <a:gd name="T64" fmla="*/ 1051 w 1306"/>
                <a:gd name="T65" fmla="*/ 0 h 1859"/>
                <a:gd name="T66" fmla="*/ 1213 w 1306"/>
                <a:gd name="T67" fmla="*/ 88 h 1859"/>
                <a:gd name="T68" fmla="*/ 1306 w 1306"/>
                <a:gd name="T69" fmla="*/ 198 h 1859"/>
                <a:gd name="T70" fmla="*/ 1265 w 1306"/>
                <a:gd name="T71" fmla="*/ 390 h 1859"/>
                <a:gd name="T72" fmla="*/ 1275 w 1306"/>
                <a:gd name="T73" fmla="*/ 516 h 1859"/>
                <a:gd name="T74" fmla="*/ 1225 w 1306"/>
                <a:gd name="T75" fmla="*/ 620 h 1859"/>
                <a:gd name="T76" fmla="*/ 1206 w 1306"/>
                <a:gd name="T77" fmla="*/ 734 h 1859"/>
                <a:gd name="T78" fmla="*/ 1245 w 1306"/>
                <a:gd name="T79" fmla="*/ 849 h 1859"/>
                <a:gd name="T80" fmla="*/ 1285 w 1306"/>
                <a:gd name="T81" fmla="*/ 998 h 1859"/>
                <a:gd name="T82" fmla="*/ 1257 w 1306"/>
                <a:gd name="T83" fmla="*/ 1138 h 1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06" h="1859">
                  <a:moveTo>
                    <a:pt x="1257" y="1138"/>
                  </a:moveTo>
                  <a:lnTo>
                    <a:pt x="1257" y="1193"/>
                  </a:lnTo>
                  <a:lnTo>
                    <a:pt x="1210" y="1247"/>
                  </a:lnTo>
                  <a:lnTo>
                    <a:pt x="1116" y="1356"/>
                  </a:lnTo>
                  <a:lnTo>
                    <a:pt x="1022" y="1411"/>
                  </a:lnTo>
                  <a:lnTo>
                    <a:pt x="928" y="1465"/>
                  </a:lnTo>
                  <a:lnTo>
                    <a:pt x="850" y="1561"/>
                  </a:lnTo>
                  <a:lnTo>
                    <a:pt x="786" y="1683"/>
                  </a:lnTo>
                  <a:lnTo>
                    <a:pt x="751" y="1779"/>
                  </a:lnTo>
                  <a:lnTo>
                    <a:pt x="721" y="1848"/>
                  </a:lnTo>
                  <a:lnTo>
                    <a:pt x="623" y="1790"/>
                  </a:lnTo>
                  <a:lnTo>
                    <a:pt x="484" y="1836"/>
                  </a:lnTo>
                  <a:lnTo>
                    <a:pt x="395" y="1859"/>
                  </a:lnTo>
                  <a:lnTo>
                    <a:pt x="317" y="1738"/>
                  </a:lnTo>
                  <a:lnTo>
                    <a:pt x="222" y="1574"/>
                  </a:lnTo>
                  <a:lnTo>
                    <a:pt x="82" y="1465"/>
                  </a:lnTo>
                  <a:lnTo>
                    <a:pt x="142" y="1336"/>
                  </a:lnTo>
                  <a:lnTo>
                    <a:pt x="96" y="1225"/>
                  </a:lnTo>
                  <a:lnTo>
                    <a:pt x="114" y="1066"/>
                  </a:lnTo>
                  <a:lnTo>
                    <a:pt x="161" y="953"/>
                  </a:lnTo>
                  <a:lnTo>
                    <a:pt x="173" y="780"/>
                  </a:lnTo>
                  <a:lnTo>
                    <a:pt x="49" y="683"/>
                  </a:lnTo>
                  <a:lnTo>
                    <a:pt x="7" y="611"/>
                  </a:lnTo>
                  <a:lnTo>
                    <a:pt x="0" y="519"/>
                  </a:lnTo>
                  <a:lnTo>
                    <a:pt x="187" y="465"/>
                  </a:lnTo>
                  <a:lnTo>
                    <a:pt x="284" y="409"/>
                  </a:lnTo>
                  <a:lnTo>
                    <a:pt x="387" y="367"/>
                  </a:lnTo>
                  <a:lnTo>
                    <a:pt x="476" y="370"/>
                  </a:lnTo>
                  <a:lnTo>
                    <a:pt x="587" y="304"/>
                  </a:lnTo>
                  <a:lnTo>
                    <a:pt x="652" y="138"/>
                  </a:lnTo>
                  <a:lnTo>
                    <a:pt x="791" y="34"/>
                  </a:lnTo>
                  <a:lnTo>
                    <a:pt x="929" y="31"/>
                  </a:lnTo>
                  <a:lnTo>
                    <a:pt x="1051" y="0"/>
                  </a:lnTo>
                  <a:lnTo>
                    <a:pt x="1213" y="88"/>
                  </a:lnTo>
                  <a:lnTo>
                    <a:pt x="1306" y="198"/>
                  </a:lnTo>
                  <a:lnTo>
                    <a:pt x="1265" y="390"/>
                  </a:lnTo>
                  <a:lnTo>
                    <a:pt x="1275" y="516"/>
                  </a:lnTo>
                  <a:lnTo>
                    <a:pt x="1225" y="620"/>
                  </a:lnTo>
                  <a:lnTo>
                    <a:pt x="1206" y="734"/>
                  </a:lnTo>
                  <a:lnTo>
                    <a:pt x="1245" y="849"/>
                  </a:lnTo>
                  <a:lnTo>
                    <a:pt x="1285" y="998"/>
                  </a:lnTo>
                  <a:lnTo>
                    <a:pt x="1257" y="1138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4" name="Freeform 78">
              <a:extLst>
                <a:ext uri="{FF2B5EF4-FFF2-40B4-BE49-F238E27FC236}">
                  <a16:creationId xmlns:a16="http://schemas.microsoft.com/office/drawing/2014/main" id="{9A16DAE1-1C3E-2B76-F1B3-6BDEE7D69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923" y="4262438"/>
              <a:ext cx="342900" cy="390525"/>
            </a:xfrm>
            <a:custGeom>
              <a:avLst/>
              <a:gdLst>
                <a:gd name="T0" fmla="*/ 636 w 1428"/>
                <a:gd name="T1" fmla="*/ 123 h 1419"/>
                <a:gd name="T2" fmla="*/ 759 w 1428"/>
                <a:gd name="T3" fmla="*/ 62 h 1419"/>
                <a:gd name="T4" fmla="*/ 861 w 1428"/>
                <a:gd name="T5" fmla="*/ 0 h 1419"/>
                <a:gd name="T6" fmla="*/ 996 w 1428"/>
                <a:gd name="T7" fmla="*/ 51 h 1419"/>
                <a:gd name="T8" fmla="*/ 1176 w 1428"/>
                <a:gd name="T9" fmla="*/ 117 h 1419"/>
                <a:gd name="T10" fmla="*/ 1242 w 1428"/>
                <a:gd name="T11" fmla="*/ 201 h 1419"/>
                <a:gd name="T12" fmla="*/ 1236 w 1428"/>
                <a:gd name="T13" fmla="*/ 291 h 1419"/>
                <a:gd name="T14" fmla="*/ 1254 w 1428"/>
                <a:gd name="T15" fmla="*/ 387 h 1419"/>
                <a:gd name="T16" fmla="*/ 1331 w 1428"/>
                <a:gd name="T17" fmla="*/ 466 h 1419"/>
                <a:gd name="T18" fmla="*/ 1350 w 1428"/>
                <a:gd name="T19" fmla="*/ 525 h 1419"/>
                <a:gd name="T20" fmla="*/ 1428 w 1428"/>
                <a:gd name="T21" fmla="*/ 567 h 1419"/>
                <a:gd name="T22" fmla="*/ 1386 w 1428"/>
                <a:gd name="T23" fmla="*/ 615 h 1419"/>
                <a:gd name="T24" fmla="*/ 1290 w 1428"/>
                <a:gd name="T25" fmla="*/ 669 h 1419"/>
                <a:gd name="T26" fmla="*/ 1217 w 1428"/>
                <a:gd name="T27" fmla="*/ 695 h 1419"/>
                <a:gd name="T28" fmla="*/ 1176 w 1428"/>
                <a:gd name="T29" fmla="*/ 747 h 1419"/>
                <a:gd name="T30" fmla="*/ 1116 w 1428"/>
                <a:gd name="T31" fmla="*/ 807 h 1419"/>
                <a:gd name="T32" fmla="*/ 1110 w 1428"/>
                <a:gd name="T33" fmla="*/ 909 h 1419"/>
                <a:gd name="T34" fmla="*/ 1116 w 1428"/>
                <a:gd name="T35" fmla="*/ 1005 h 1419"/>
                <a:gd name="T36" fmla="*/ 1032 w 1428"/>
                <a:gd name="T37" fmla="*/ 1053 h 1419"/>
                <a:gd name="T38" fmla="*/ 930 w 1428"/>
                <a:gd name="T39" fmla="*/ 1107 h 1419"/>
                <a:gd name="T40" fmla="*/ 876 w 1428"/>
                <a:gd name="T41" fmla="*/ 1191 h 1419"/>
                <a:gd name="T42" fmla="*/ 828 w 1428"/>
                <a:gd name="T43" fmla="*/ 1263 h 1419"/>
                <a:gd name="T44" fmla="*/ 762 w 1428"/>
                <a:gd name="T45" fmla="*/ 1317 h 1419"/>
                <a:gd name="T46" fmla="*/ 703 w 1428"/>
                <a:gd name="T47" fmla="*/ 1265 h 1419"/>
                <a:gd name="T48" fmla="*/ 589 w 1428"/>
                <a:gd name="T49" fmla="*/ 1208 h 1419"/>
                <a:gd name="T50" fmla="*/ 532 w 1428"/>
                <a:gd name="T51" fmla="*/ 1265 h 1419"/>
                <a:gd name="T52" fmla="*/ 418 w 1428"/>
                <a:gd name="T53" fmla="*/ 1322 h 1419"/>
                <a:gd name="T54" fmla="*/ 361 w 1428"/>
                <a:gd name="T55" fmla="*/ 1379 h 1419"/>
                <a:gd name="T56" fmla="*/ 270 w 1428"/>
                <a:gd name="T57" fmla="*/ 1419 h 1419"/>
                <a:gd name="T58" fmla="*/ 190 w 1428"/>
                <a:gd name="T59" fmla="*/ 1322 h 1419"/>
                <a:gd name="T60" fmla="*/ 150 w 1428"/>
                <a:gd name="T61" fmla="*/ 1257 h 1419"/>
                <a:gd name="T62" fmla="*/ 62 w 1428"/>
                <a:gd name="T63" fmla="*/ 1220 h 1419"/>
                <a:gd name="T64" fmla="*/ 63 w 1428"/>
                <a:gd name="T65" fmla="*/ 1155 h 1419"/>
                <a:gd name="T66" fmla="*/ 96 w 1428"/>
                <a:gd name="T67" fmla="*/ 1019 h 1419"/>
                <a:gd name="T68" fmla="*/ 50 w 1428"/>
                <a:gd name="T69" fmla="*/ 867 h 1419"/>
                <a:gd name="T70" fmla="*/ 0 w 1428"/>
                <a:gd name="T71" fmla="*/ 741 h 1419"/>
                <a:gd name="T72" fmla="*/ 23 w 1428"/>
                <a:gd name="T73" fmla="*/ 623 h 1419"/>
                <a:gd name="T74" fmla="*/ 84 w 1428"/>
                <a:gd name="T75" fmla="*/ 513 h 1419"/>
                <a:gd name="T76" fmla="*/ 71 w 1428"/>
                <a:gd name="T77" fmla="*/ 386 h 1419"/>
                <a:gd name="T78" fmla="*/ 122 w 1428"/>
                <a:gd name="T79" fmla="*/ 180 h 1419"/>
                <a:gd name="T80" fmla="*/ 341 w 1428"/>
                <a:gd name="T81" fmla="*/ 176 h 1419"/>
                <a:gd name="T82" fmla="*/ 501 w 1428"/>
                <a:gd name="T83" fmla="*/ 137 h 1419"/>
                <a:gd name="T84" fmla="*/ 636 w 1428"/>
                <a:gd name="T85" fmla="*/ 123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8" h="1419">
                  <a:moveTo>
                    <a:pt x="636" y="123"/>
                  </a:moveTo>
                  <a:lnTo>
                    <a:pt x="759" y="62"/>
                  </a:lnTo>
                  <a:lnTo>
                    <a:pt x="861" y="0"/>
                  </a:lnTo>
                  <a:lnTo>
                    <a:pt x="996" y="51"/>
                  </a:lnTo>
                  <a:lnTo>
                    <a:pt x="1176" y="117"/>
                  </a:lnTo>
                  <a:lnTo>
                    <a:pt x="1242" y="201"/>
                  </a:lnTo>
                  <a:lnTo>
                    <a:pt x="1236" y="291"/>
                  </a:lnTo>
                  <a:lnTo>
                    <a:pt x="1254" y="387"/>
                  </a:lnTo>
                  <a:lnTo>
                    <a:pt x="1331" y="466"/>
                  </a:lnTo>
                  <a:lnTo>
                    <a:pt x="1350" y="525"/>
                  </a:lnTo>
                  <a:lnTo>
                    <a:pt x="1428" y="567"/>
                  </a:lnTo>
                  <a:lnTo>
                    <a:pt x="1386" y="615"/>
                  </a:lnTo>
                  <a:lnTo>
                    <a:pt x="1290" y="669"/>
                  </a:lnTo>
                  <a:lnTo>
                    <a:pt x="1217" y="695"/>
                  </a:lnTo>
                  <a:lnTo>
                    <a:pt x="1176" y="747"/>
                  </a:lnTo>
                  <a:lnTo>
                    <a:pt x="1116" y="807"/>
                  </a:lnTo>
                  <a:lnTo>
                    <a:pt x="1110" y="909"/>
                  </a:lnTo>
                  <a:lnTo>
                    <a:pt x="1116" y="1005"/>
                  </a:lnTo>
                  <a:lnTo>
                    <a:pt x="1032" y="1053"/>
                  </a:lnTo>
                  <a:lnTo>
                    <a:pt x="930" y="1107"/>
                  </a:lnTo>
                  <a:lnTo>
                    <a:pt x="876" y="1191"/>
                  </a:lnTo>
                  <a:lnTo>
                    <a:pt x="828" y="1263"/>
                  </a:lnTo>
                  <a:lnTo>
                    <a:pt x="762" y="1317"/>
                  </a:lnTo>
                  <a:lnTo>
                    <a:pt x="703" y="1265"/>
                  </a:lnTo>
                  <a:lnTo>
                    <a:pt x="589" y="1208"/>
                  </a:lnTo>
                  <a:lnTo>
                    <a:pt x="532" y="1265"/>
                  </a:lnTo>
                  <a:lnTo>
                    <a:pt x="418" y="1322"/>
                  </a:lnTo>
                  <a:lnTo>
                    <a:pt x="361" y="1379"/>
                  </a:lnTo>
                  <a:lnTo>
                    <a:pt x="270" y="1419"/>
                  </a:lnTo>
                  <a:lnTo>
                    <a:pt x="190" y="1322"/>
                  </a:lnTo>
                  <a:lnTo>
                    <a:pt x="150" y="1257"/>
                  </a:lnTo>
                  <a:lnTo>
                    <a:pt x="62" y="1220"/>
                  </a:lnTo>
                  <a:lnTo>
                    <a:pt x="63" y="1155"/>
                  </a:lnTo>
                  <a:lnTo>
                    <a:pt x="96" y="1019"/>
                  </a:lnTo>
                  <a:lnTo>
                    <a:pt x="50" y="867"/>
                  </a:lnTo>
                  <a:lnTo>
                    <a:pt x="0" y="741"/>
                  </a:lnTo>
                  <a:lnTo>
                    <a:pt x="23" y="623"/>
                  </a:lnTo>
                  <a:lnTo>
                    <a:pt x="84" y="513"/>
                  </a:lnTo>
                  <a:lnTo>
                    <a:pt x="71" y="386"/>
                  </a:lnTo>
                  <a:lnTo>
                    <a:pt x="122" y="180"/>
                  </a:lnTo>
                  <a:lnTo>
                    <a:pt x="341" y="176"/>
                  </a:lnTo>
                  <a:lnTo>
                    <a:pt x="501" y="137"/>
                  </a:lnTo>
                  <a:lnTo>
                    <a:pt x="636" y="123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5" name="Freeform 79">
              <a:extLst>
                <a:ext uri="{FF2B5EF4-FFF2-40B4-BE49-F238E27FC236}">
                  <a16:creationId xmlns:a16="http://schemas.microsoft.com/office/drawing/2014/main" id="{BC94D8F4-E70A-FF04-082D-49CD09282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898" y="3960813"/>
              <a:ext cx="900112" cy="1044575"/>
            </a:xfrm>
            <a:custGeom>
              <a:avLst/>
              <a:gdLst>
                <a:gd name="T0" fmla="*/ 1999 w 2835"/>
                <a:gd name="T1" fmla="*/ 598 h 3289"/>
                <a:gd name="T2" fmla="*/ 1776 w 2835"/>
                <a:gd name="T3" fmla="*/ 658 h 3289"/>
                <a:gd name="T4" fmla="*/ 1522 w 2835"/>
                <a:gd name="T5" fmla="*/ 741 h 3289"/>
                <a:gd name="T6" fmla="*/ 1432 w 2835"/>
                <a:gd name="T7" fmla="*/ 588 h 3289"/>
                <a:gd name="T8" fmla="*/ 1351 w 2835"/>
                <a:gd name="T9" fmla="*/ 494 h 3289"/>
                <a:gd name="T10" fmla="*/ 1177 w 2835"/>
                <a:gd name="T11" fmla="*/ 197 h 3289"/>
                <a:gd name="T12" fmla="*/ 1003 w 2835"/>
                <a:gd name="T13" fmla="*/ 49 h 3289"/>
                <a:gd name="T14" fmla="*/ 840 w 2835"/>
                <a:gd name="T15" fmla="*/ 156 h 3289"/>
                <a:gd name="T16" fmla="*/ 750 w 2835"/>
                <a:gd name="T17" fmla="*/ 486 h 3289"/>
                <a:gd name="T18" fmla="*/ 572 w 2835"/>
                <a:gd name="T19" fmla="*/ 551 h 3289"/>
                <a:gd name="T20" fmla="*/ 399 w 2835"/>
                <a:gd name="T21" fmla="*/ 473 h 3289"/>
                <a:gd name="T22" fmla="*/ 225 w 2835"/>
                <a:gd name="T23" fmla="*/ 390 h 3289"/>
                <a:gd name="T24" fmla="*/ 2 w 2835"/>
                <a:gd name="T25" fmla="*/ 658 h 3289"/>
                <a:gd name="T26" fmla="*/ 133 w 2835"/>
                <a:gd name="T27" fmla="*/ 827 h 3289"/>
                <a:gd name="T28" fmla="*/ 318 w 2835"/>
                <a:gd name="T29" fmla="*/ 1049 h 3289"/>
                <a:gd name="T30" fmla="*/ 366 w 2835"/>
                <a:gd name="T31" fmla="*/ 1204 h 3289"/>
                <a:gd name="T32" fmla="*/ 436 w 2835"/>
                <a:gd name="T33" fmla="*/ 1352 h 3289"/>
                <a:gd name="T34" fmla="*/ 517 w 2835"/>
                <a:gd name="T35" fmla="*/ 1444 h 3289"/>
                <a:gd name="T36" fmla="*/ 632 w 2835"/>
                <a:gd name="T37" fmla="*/ 1535 h 3289"/>
                <a:gd name="T38" fmla="*/ 632 w 2835"/>
                <a:gd name="T39" fmla="*/ 1733 h 3289"/>
                <a:gd name="T40" fmla="*/ 762 w 2835"/>
                <a:gd name="T41" fmla="*/ 1832 h 3289"/>
                <a:gd name="T42" fmla="*/ 922 w 2835"/>
                <a:gd name="T43" fmla="*/ 1882 h 3289"/>
                <a:gd name="T44" fmla="*/ 1151 w 2835"/>
                <a:gd name="T45" fmla="*/ 2079 h 3289"/>
                <a:gd name="T46" fmla="*/ 1280 w 2835"/>
                <a:gd name="T47" fmla="*/ 2178 h 3289"/>
                <a:gd name="T48" fmla="*/ 1379 w 2835"/>
                <a:gd name="T49" fmla="*/ 2238 h 3289"/>
                <a:gd name="T50" fmla="*/ 1444 w 2835"/>
                <a:gd name="T51" fmla="*/ 2330 h 3289"/>
                <a:gd name="T52" fmla="*/ 1443 w 2835"/>
                <a:gd name="T53" fmla="*/ 2429 h 3289"/>
                <a:gd name="T54" fmla="*/ 1444 w 2835"/>
                <a:gd name="T55" fmla="*/ 2531 h 3289"/>
                <a:gd name="T56" fmla="*/ 1405 w 2835"/>
                <a:gd name="T57" fmla="*/ 2683 h 3289"/>
                <a:gd name="T58" fmla="*/ 1399 w 2835"/>
                <a:gd name="T59" fmla="*/ 2839 h 3289"/>
                <a:gd name="T60" fmla="*/ 1398 w 2835"/>
                <a:gd name="T61" fmla="*/ 3055 h 3289"/>
                <a:gd name="T62" fmla="*/ 1401 w 2835"/>
                <a:gd name="T63" fmla="*/ 3220 h 3289"/>
                <a:gd name="T64" fmla="*/ 1490 w 2835"/>
                <a:gd name="T65" fmla="*/ 3245 h 3289"/>
                <a:gd name="T66" fmla="*/ 1626 w 2835"/>
                <a:gd name="T67" fmla="*/ 3068 h 3289"/>
                <a:gd name="T68" fmla="*/ 1837 w 2835"/>
                <a:gd name="T69" fmla="*/ 2827 h 3289"/>
                <a:gd name="T70" fmla="*/ 1951 w 2835"/>
                <a:gd name="T71" fmla="*/ 2906 h 3289"/>
                <a:gd name="T72" fmla="*/ 2140 w 2835"/>
                <a:gd name="T73" fmla="*/ 2720 h 3289"/>
                <a:gd name="T74" fmla="*/ 2343 w 2835"/>
                <a:gd name="T75" fmla="*/ 2539 h 3289"/>
                <a:gd name="T76" fmla="*/ 2576 w 2835"/>
                <a:gd name="T77" fmla="*/ 2425 h 3289"/>
                <a:gd name="T78" fmla="*/ 2785 w 2835"/>
                <a:gd name="T79" fmla="*/ 2228 h 3289"/>
                <a:gd name="T80" fmla="*/ 2832 w 2835"/>
                <a:gd name="T81" fmla="*/ 2027 h 3289"/>
                <a:gd name="T82" fmla="*/ 2764 w 2835"/>
                <a:gd name="T83" fmla="*/ 1742 h 3289"/>
                <a:gd name="T84" fmla="*/ 2806 w 2835"/>
                <a:gd name="T85" fmla="*/ 1573 h 3289"/>
                <a:gd name="T86" fmla="*/ 2736 w 2835"/>
                <a:gd name="T87" fmla="*/ 1414 h 3289"/>
                <a:gd name="T88" fmla="*/ 2586 w 2835"/>
                <a:gd name="T89" fmla="*/ 1214 h 3289"/>
                <a:gd name="T90" fmla="*/ 2602 w 2835"/>
                <a:gd name="T91" fmla="*/ 1078 h 3289"/>
                <a:gd name="T92" fmla="*/ 2482 w 2835"/>
                <a:gd name="T93" fmla="*/ 990 h 3289"/>
                <a:gd name="T94" fmla="*/ 2335 w 2835"/>
                <a:gd name="T95" fmla="*/ 972 h 3289"/>
                <a:gd name="T96" fmla="*/ 2181 w 2835"/>
                <a:gd name="T97" fmla="*/ 1048 h 3289"/>
                <a:gd name="T98" fmla="*/ 2112 w 2835"/>
                <a:gd name="T99" fmla="*/ 902 h 3289"/>
                <a:gd name="T100" fmla="*/ 2116 w 2835"/>
                <a:gd name="T101" fmla="*/ 749 h 3289"/>
                <a:gd name="T102" fmla="*/ 2126 w 2835"/>
                <a:gd name="T103" fmla="*/ 598 h 3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35" h="3289">
                  <a:moveTo>
                    <a:pt x="2126" y="598"/>
                  </a:moveTo>
                  <a:lnTo>
                    <a:pt x="1999" y="598"/>
                  </a:lnTo>
                  <a:lnTo>
                    <a:pt x="1882" y="627"/>
                  </a:lnTo>
                  <a:lnTo>
                    <a:pt x="1776" y="658"/>
                  </a:lnTo>
                  <a:lnTo>
                    <a:pt x="1656" y="741"/>
                  </a:lnTo>
                  <a:lnTo>
                    <a:pt x="1522" y="741"/>
                  </a:lnTo>
                  <a:lnTo>
                    <a:pt x="1479" y="643"/>
                  </a:lnTo>
                  <a:lnTo>
                    <a:pt x="1432" y="588"/>
                  </a:lnTo>
                  <a:lnTo>
                    <a:pt x="1394" y="494"/>
                  </a:lnTo>
                  <a:lnTo>
                    <a:pt x="1351" y="494"/>
                  </a:lnTo>
                  <a:lnTo>
                    <a:pt x="1263" y="296"/>
                  </a:lnTo>
                  <a:lnTo>
                    <a:pt x="1177" y="197"/>
                  </a:lnTo>
                  <a:lnTo>
                    <a:pt x="1103" y="121"/>
                  </a:lnTo>
                  <a:lnTo>
                    <a:pt x="1003" y="49"/>
                  </a:lnTo>
                  <a:lnTo>
                    <a:pt x="874" y="0"/>
                  </a:lnTo>
                  <a:lnTo>
                    <a:pt x="840" y="156"/>
                  </a:lnTo>
                  <a:lnTo>
                    <a:pt x="806" y="374"/>
                  </a:lnTo>
                  <a:lnTo>
                    <a:pt x="750" y="486"/>
                  </a:lnTo>
                  <a:lnTo>
                    <a:pt x="651" y="514"/>
                  </a:lnTo>
                  <a:lnTo>
                    <a:pt x="572" y="551"/>
                  </a:lnTo>
                  <a:lnTo>
                    <a:pt x="475" y="513"/>
                  </a:lnTo>
                  <a:lnTo>
                    <a:pt x="399" y="473"/>
                  </a:lnTo>
                  <a:lnTo>
                    <a:pt x="318" y="414"/>
                  </a:lnTo>
                  <a:lnTo>
                    <a:pt x="225" y="390"/>
                  </a:lnTo>
                  <a:lnTo>
                    <a:pt x="0" y="564"/>
                  </a:lnTo>
                  <a:lnTo>
                    <a:pt x="2" y="658"/>
                  </a:lnTo>
                  <a:lnTo>
                    <a:pt x="50" y="748"/>
                  </a:lnTo>
                  <a:lnTo>
                    <a:pt x="133" y="827"/>
                  </a:lnTo>
                  <a:lnTo>
                    <a:pt x="82" y="950"/>
                  </a:lnTo>
                  <a:lnTo>
                    <a:pt x="318" y="1049"/>
                  </a:lnTo>
                  <a:lnTo>
                    <a:pt x="369" y="1127"/>
                  </a:lnTo>
                  <a:lnTo>
                    <a:pt x="366" y="1204"/>
                  </a:lnTo>
                  <a:lnTo>
                    <a:pt x="379" y="1288"/>
                  </a:lnTo>
                  <a:lnTo>
                    <a:pt x="436" y="1352"/>
                  </a:lnTo>
                  <a:lnTo>
                    <a:pt x="451" y="1406"/>
                  </a:lnTo>
                  <a:lnTo>
                    <a:pt x="517" y="1444"/>
                  </a:lnTo>
                  <a:lnTo>
                    <a:pt x="589" y="1486"/>
                  </a:lnTo>
                  <a:lnTo>
                    <a:pt x="632" y="1535"/>
                  </a:lnTo>
                  <a:lnTo>
                    <a:pt x="611" y="1636"/>
                  </a:lnTo>
                  <a:lnTo>
                    <a:pt x="632" y="1733"/>
                  </a:lnTo>
                  <a:lnTo>
                    <a:pt x="719" y="1782"/>
                  </a:lnTo>
                  <a:lnTo>
                    <a:pt x="762" y="1832"/>
                  </a:lnTo>
                  <a:lnTo>
                    <a:pt x="853" y="1922"/>
                  </a:lnTo>
                  <a:lnTo>
                    <a:pt x="922" y="1882"/>
                  </a:lnTo>
                  <a:lnTo>
                    <a:pt x="1081" y="1985"/>
                  </a:lnTo>
                  <a:lnTo>
                    <a:pt x="1151" y="2079"/>
                  </a:lnTo>
                  <a:lnTo>
                    <a:pt x="1237" y="2128"/>
                  </a:lnTo>
                  <a:lnTo>
                    <a:pt x="1280" y="2178"/>
                  </a:lnTo>
                  <a:lnTo>
                    <a:pt x="1323" y="2178"/>
                  </a:lnTo>
                  <a:lnTo>
                    <a:pt x="1379" y="2238"/>
                  </a:lnTo>
                  <a:lnTo>
                    <a:pt x="1443" y="2279"/>
                  </a:lnTo>
                  <a:lnTo>
                    <a:pt x="1444" y="2330"/>
                  </a:lnTo>
                  <a:lnTo>
                    <a:pt x="1489" y="2380"/>
                  </a:lnTo>
                  <a:lnTo>
                    <a:pt x="1443" y="2429"/>
                  </a:lnTo>
                  <a:lnTo>
                    <a:pt x="1443" y="2476"/>
                  </a:lnTo>
                  <a:lnTo>
                    <a:pt x="1444" y="2531"/>
                  </a:lnTo>
                  <a:lnTo>
                    <a:pt x="1410" y="2630"/>
                  </a:lnTo>
                  <a:lnTo>
                    <a:pt x="1405" y="2683"/>
                  </a:lnTo>
                  <a:lnTo>
                    <a:pt x="1414" y="2761"/>
                  </a:lnTo>
                  <a:lnTo>
                    <a:pt x="1399" y="2839"/>
                  </a:lnTo>
                  <a:lnTo>
                    <a:pt x="1401" y="2920"/>
                  </a:lnTo>
                  <a:lnTo>
                    <a:pt x="1398" y="3055"/>
                  </a:lnTo>
                  <a:lnTo>
                    <a:pt x="1405" y="3121"/>
                  </a:lnTo>
                  <a:lnTo>
                    <a:pt x="1401" y="3220"/>
                  </a:lnTo>
                  <a:lnTo>
                    <a:pt x="1428" y="3289"/>
                  </a:lnTo>
                  <a:lnTo>
                    <a:pt x="1490" y="3245"/>
                  </a:lnTo>
                  <a:lnTo>
                    <a:pt x="1539" y="3167"/>
                  </a:lnTo>
                  <a:lnTo>
                    <a:pt x="1626" y="3068"/>
                  </a:lnTo>
                  <a:lnTo>
                    <a:pt x="1726" y="2944"/>
                  </a:lnTo>
                  <a:lnTo>
                    <a:pt x="1837" y="2827"/>
                  </a:lnTo>
                  <a:lnTo>
                    <a:pt x="1881" y="2875"/>
                  </a:lnTo>
                  <a:lnTo>
                    <a:pt x="1951" y="2906"/>
                  </a:lnTo>
                  <a:lnTo>
                    <a:pt x="2050" y="2825"/>
                  </a:lnTo>
                  <a:lnTo>
                    <a:pt x="2140" y="2720"/>
                  </a:lnTo>
                  <a:lnTo>
                    <a:pt x="2226" y="2621"/>
                  </a:lnTo>
                  <a:lnTo>
                    <a:pt x="2343" y="2539"/>
                  </a:lnTo>
                  <a:lnTo>
                    <a:pt x="2452" y="2501"/>
                  </a:lnTo>
                  <a:lnTo>
                    <a:pt x="2576" y="2425"/>
                  </a:lnTo>
                  <a:lnTo>
                    <a:pt x="2705" y="2326"/>
                  </a:lnTo>
                  <a:lnTo>
                    <a:pt x="2785" y="2228"/>
                  </a:lnTo>
                  <a:lnTo>
                    <a:pt x="2829" y="2144"/>
                  </a:lnTo>
                  <a:lnTo>
                    <a:pt x="2832" y="2027"/>
                  </a:lnTo>
                  <a:lnTo>
                    <a:pt x="2745" y="1880"/>
                  </a:lnTo>
                  <a:lnTo>
                    <a:pt x="2764" y="1742"/>
                  </a:lnTo>
                  <a:lnTo>
                    <a:pt x="2835" y="1658"/>
                  </a:lnTo>
                  <a:lnTo>
                    <a:pt x="2806" y="1573"/>
                  </a:lnTo>
                  <a:lnTo>
                    <a:pt x="2796" y="1478"/>
                  </a:lnTo>
                  <a:lnTo>
                    <a:pt x="2736" y="1414"/>
                  </a:lnTo>
                  <a:lnTo>
                    <a:pt x="2660" y="1311"/>
                  </a:lnTo>
                  <a:lnTo>
                    <a:pt x="2586" y="1214"/>
                  </a:lnTo>
                  <a:lnTo>
                    <a:pt x="2640" y="1142"/>
                  </a:lnTo>
                  <a:lnTo>
                    <a:pt x="2602" y="1078"/>
                  </a:lnTo>
                  <a:lnTo>
                    <a:pt x="2539" y="1006"/>
                  </a:lnTo>
                  <a:lnTo>
                    <a:pt x="2482" y="990"/>
                  </a:lnTo>
                  <a:lnTo>
                    <a:pt x="2414" y="954"/>
                  </a:lnTo>
                  <a:lnTo>
                    <a:pt x="2335" y="972"/>
                  </a:lnTo>
                  <a:lnTo>
                    <a:pt x="2237" y="1006"/>
                  </a:lnTo>
                  <a:lnTo>
                    <a:pt x="2181" y="1048"/>
                  </a:lnTo>
                  <a:lnTo>
                    <a:pt x="2096" y="1003"/>
                  </a:lnTo>
                  <a:lnTo>
                    <a:pt x="2112" y="902"/>
                  </a:lnTo>
                  <a:lnTo>
                    <a:pt x="2110" y="826"/>
                  </a:lnTo>
                  <a:lnTo>
                    <a:pt x="2116" y="749"/>
                  </a:lnTo>
                  <a:lnTo>
                    <a:pt x="2128" y="681"/>
                  </a:lnTo>
                  <a:lnTo>
                    <a:pt x="2126" y="598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6" name="Freeform 80">
              <a:extLst>
                <a:ext uri="{FF2B5EF4-FFF2-40B4-BE49-F238E27FC236}">
                  <a16:creationId xmlns:a16="http://schemas.microsoft.com/office/drawing/2014/main" id="{EFD74864-06B8-B140-3A0A-F687FE370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9361" y="4249738"/>
              <a:ext cx="931862" cy="796925"/>
            </a:xfrm>
            <a:custGeom>
              <a:avLst/>
              <a:gdLst>
                <a:gd name="T0" fmla="*/ 2118 w 2935"/>
                <a:gd name="T1" fmla="*/ 342 h 2512"/>
                <a:gd name="T2" fmla="*/ 1968 w 2935"/>
                <a:gd name="T3" fmla="*/ 264 h 2512"/>
                <a:gd name="T4" fmla="*/ 1761 w 2935"/>
                <a:gd name="T5" fmla="*/ 194 h 2512"/>
                <a:gd name="T6" fmla="*/ 1515 w 2935"/>
                <a:gd name="T7" fmla="*/ 194 h 2512"/>
                <a:gd name="T8" fmla="*/ 1344 w 2935"/>
                <a:gd name="T9" fmla="*/ 83 h 2512"/>
                <a:gd name="T10" fmla="*/ 1208 w 2935"/>
                <a:gd name="T11" fmla="*/ 40 h 2512"/>
                <a:gd name="T12" fmla="*/ 1165 w 2935"/>
                <a:gd name="T13" fmla="*/ 241 h 2512"/>
                <a:gd name="T14" fmla="*/ 1077 w 2935"/>
                <a:gd name="T15" fmla="*/ 390 h 2512"/>
                <a:gd name="T16" fmla="*/ 778 w 2935"/>
                <a:gd name="T17" fmla="*/ 242 h 2512"/>
                <a:gd name="T18" fmla="*/ 386 w 2935"/>
                <a:gd name="T19" fmla="*/ 142 h 2512"/>
                <a:gd name="T20" fmla="*/ 189 w 2935"/>
                <a:gd name="T21" fmla="*/ 231 h 2512"/>
                <a:gd name="T22" fmla="*/ 267 w 2935"/>
                <a:gd name="T23" fmla="*/ 492 h 2512"/>
                <a:gd name="T24" fmla="*/ 339 w 2935"/>
                <a:gd name="T25" fmla="*/ 569 h 2512"/>
                <a:gd name="T26" fmla="*/ 380 w 2935"/>
                <a:gd name="T27" fmla="*/ 750 h 2512"/>
                <a:gd name="T28" fmla="*/ 289 w 2935"/>
                <a:gd name="T29" fmla="*/ 971 h 2512"/>
                <a:gd name="T30" fmla="*/ 374 w 2935"/>
                <a:gd name="T31" fmla="*/ 1234 h 2512"/>
                <a:gd name="T32" fmla="*/ 248 w 2935"/>
                <a:gd name="T33" fmla="*/ 1416 h 2512"/>
                <a:gd name="T34" fmla="*/ 76 w 2935"/>
                <a:gd name="T35" fmla="*/ 1541 h 2512"/>
                <a:gd name="T36" fmla="*/ 53 w 2935"/>
                <a:gd name="T37" fmla="*/ 1724 h 2512"/>
                <a:gd name="T38" fmla="*/ 152 w 2935"/>
                <a:gd name="T39" fmla="*/ 1821 h 2512"/>
                <a:gd name="T40" fmla="*/ 333 w 2935"/>
                <a:gd name="T41" fmla="*/ 1829 h 2512"/>
                <a:gd name="T42" fmla="*/ 384 w 2935"/>
                <a:gd name="T43" fmla="*/ 2072 h 2512"/>
                <a:gd name="T44" fmla="*/ 341 w 2935"/>
                <a:gd name="T45" fmla="*/ 2243 h 2512"/>
                <a:gd name="T46" fmla="*/ 505 w 2935"/>
                <a:gd name="T47" fmla="*/ 2369 h 2512"/>
                <a:gd name="T48" fmla="*/ 596 w 2935"/>
                <a:gd name="T49" fmla="*/ 2202 h 2512"/>
                <a:gd name="T50" fmla="*/ 693 w 2935"/>
                <a:gd name="T51" fmla="*/ 2116 h 2512"/>
                <a:gd name="T52" fmla="*/ 823 w 2935"/>
                <a:gd name="T53" fmla="*/ 2017 h 2512"/>
                <a:gd name="T54" fmla="*/ 953 w 2935"/>
                <a:gd name="T55" fmla="*/ 2067 h 2512"/>
                <a:gd name="T56" fmla="*/ 1178 w 2935"/>
                <a:gd name="T57" fmla="*/ 2123 h 2512"/>
                <a:gd name="T58" fmla="*/ 1323 w 2935"/>
                <a:gd name="T59" fmla="*/ 2012 h 2512"/>
                <a:gd name="T60" fmla="*/ 1351 w 2935"/>
                <a:gd name="T61" fmla="*/ 1837 h 2512"/>
                <a:gd name="T62" fmla="*/ 1482 w 2935"/>
                <a:gd name="T63" fmla="*/ 1845 h 2512"/>
                <a:gd name="T64" fmla="*/ 1644 w 2935"/>
                <a:gd name="T65" fmla="*/ 1869 h 2512"/>
                <a:gd name="T66" fmla="*/ 1788 w 2935"/>
                <a:gd name="T67" fmla="*/ 1956 h 2512"/>
                <a:gd name="T68" fmla="*/ 1860 w 2935"/>
                <a:gd name="T69" fmla="*/ 2116 h 2512"/>
                <a:gd name="T70" fmla="*/ 1995 w 2935"/>
                <a:gd name="T71" fmla="*/ 2147 h 2512"/>
                <a:gd name="T72" fmla="*/ 2162 w 2935"/>
                <a:gd name="T73" fmla="*/ 2116 h 2512"/>
                <a:gd name="T74" fmla="*/ 2249 w 2935"/>
                <a:gd name="T75" fmla="*/ 2215 h 2512"/>
                <a:gd name="T76" fmla="*/ 2336 w 2935"/>
                <a:gd name="T77" fmla="*/ 2413 h 2512"/>
                <a:gd name="T78" fmla="*/ 2404 w 2935"/>
                <a:gd name="T79" fmla="*/ 2512 h 2512"/>
                <a:gd name="T80" fmla="*/ 2552 w 2935"/>
                <a:gd name="T81" fmla="*/ 2265 h 2512"/>
                <a:gd name="T82" fmla="*/ 2567 w 2935"/>
                <a:gd name="T83" fmla="*/ 1924 h 2512"/>
                <a:gd name="T84" fmla="*/ 2771 w 2935"/>
                <a:gd name="T85" fmla="*/ 1611 h 2512"/>
                <a:gd name="T86" fmla="*/ 2856 w 2935"/>
                <a:gd name="T87" fmla="*/ 1403 h 2512"/>
                <a:gd name="T88" fmla="*/ 2886 w 2935"/>
                <a:gd name="T89" fmla="*/ 1237 h 2512"/>
                <a:gd name="T90" fmla="*/ 2915 w 2935"/>
                <a:gd name="T91" fmla="*/ 1083 h 2512"/>
                <a:gd name="T92" fmla="*/ 2647 w 2935"/>
                <a:gd name="T93" fmla="*/ 777 h 2512"/>
                <a:gd name="T94" fmla="*/ 2397 w 2935"/>
                <a:gd name="T95" fmla="*/ 638 h 2512"/>
                <a:gd name="T96" fmla="*/ 2224 w 2935"/>
                <a:gd name="T97" fmla="*/ 484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35" h="2512">
                  <a:moveTo>
                    <a:pt x="2183" y="374"/>
                  </a:moveTo>
                  <a:lnTo>
                    <a:pt x="2118" y="342"/>
                  </a:lnTo>
                  <a:lnTo>
                    <a:pt x="2073" y="294"/>
                  </a:lnTo>
                  <a:lnTo>
                    <a:pt x="1968" y="264"/>
                  </a:lnTo>
                  <a:lnTo>
                    <a:pt x="1839" y="192"/>
                  </a:lnTo>
                  <a:lnTo>
                    <a:pt x="1761" y="194"/>
                  </a:lnTo>
                  <a:lnTo>
                    <a:pt x="1628" y="177"/>
                  </a:lnTo>
                  <a:lnTo>
                    <a:pt x="1515" y="194"/>
                  </a:lnTo>
                  <a:lnTo>
                    <a:pt x="1436" y="162"/>
                  </a:lnTo>
                  <a:lnTo>
                    <a:pt x="1344" y="83"/>
                  </a:lnTo>
                  <a:lnTo>
                    <a:pt x="1256" y="0"/>
                  </a:lnTo>
                  <a:lnTo>
                    <a:pt x="1208" y="40"/>
                  </a:lnTo>
                  <a:lnTo>
                    <a:pt x="1178" y="151"/>
                  </a:lnTo>
                  <a:lnTo>
                    <a:pt x="1165" y="241"/>
                  </a:lnTo>
                  <a:lnTo>
                    <a:pt x="1164" y="345"/>
                  </a:lnTo>
                  <a:lnTo>
                    <a:pt x="1077" y="390"/>
                  </a:lnTo>
                  <a:lnTo>
                    <a:pt x="915" y="297"/>
                  </a:lnTo>
                  <a:lnTo>
                    <a:pt x="778" y="242"/>
                  </a:lnTo>
                  <a:lnTo>
                    <a:pt x="684" y="242"/>
                  </a:lnTo>
                  <a:lnTo>
                    <a:pt x="386" y="142"/>
                  </a:lnTo>
                  <a:lnTo>
                    <a:pt x="300" y="192"/>
                  </a:lnTo>
                  <a:lnTo>
                    <a:pt x="189" y="231"/>
                  </a:lnTo>
                  <a:lnTo>
                    <a:pt x="132" y="304"/>
                  </a:lnTo>
                  <a:lnTo>
                    <a:pt x="267" y="492"/>
                  </a:lnTo>
                  <a:lnTo>
                    <a:pt x="304" y="532"/>
                  </a:lnTo>
                  <a:lnTo>
                    <a:pt x="339" y="569"/>
                  </a:lnTo>
                  <a:lnTo>
                    <a:pt x="352" y="668"/>
                  </a:lnTo>
                  <a:lnTo>
                    <a:pt x="380" y="750"/>
                  </a:lnTo>
                  <a:lnTo>
                    <a:pt x="311" y="830"/>
                  </a:lnTo>
                  <a:lnTo>
                    <a:pt x="289" y="971"/>
                  </a:lnTo>
                  <a:lnTo>
                    <a:pt x="376" y="1121"/>
                  </a:lnTo>
                  <a:lnTo>
                    <a:pt x="374" y="1234"/>
                  </a:lnTo>
                  <a:lnTo>
                    <a:pt x="332" y="1317"/>
                  </a:lnTo>
                  <a:lnTo>
                    <a:pt x="248" y="1416"/>
                  </a:lnTo>
                  <a:lnTo>
                    <a:pt x="124" y="1512"/>
                  </a:lnTo>
                  <a:lnTo>
                    <a:pt x="76" y="1541"/>
                  </a:lnTo>
                  <a:lnTo>
                    <a:pt x="0" y="1593"/>
                  </a:lnTo>
                  <a:lnTo>
                    <a:pt x="53" y="1724"/>
                  </a:lnTo>
                  <a:lnTo>
                    <a:pt x="71" y="1826"/>
                  </a:lnTo>
                  <a:lnTo>
                    <a:pt x="152" y="1821"/>
                  </a:lnTo>
                  <a:lnTo>
                    <a:pt x="246" y="1784"/>
                  </a:lnTo>
                  <a:lnTo>
                    <a:pt x="333" y="1829"/>
                  </a:lnTo>
                  <a:lnTo>
                    <a:pt x="384" y="1922"/>
                  </a:lnTo>
                  <a:lnTo>
                    <a:pt x="384" y="2072"/>
                  </a:lnTo>
                  <a:lnTo>
                    <a:pt x="341" y="2172"/>
                  </a:lnTo>
                  <a:lnTo>
                    <a:pt x="341" y="2243"/>
                  </a:lnTo>
                  <a:lnTo>
                    <a:pt x="356" y="2331"/>
                  </a:lnTo>
                  <a:lnTo>
                    <a:pt x="505" y="2369"/>
                  </a:lnTo>
                  <a:lnTo>
                    <a:pt x="547" y="2321"/>
                  </a:lnTo>
                  <a:lnTo>
                    <a:pt x="596" y="2202"/>
                  </a:lnTo>
                  <a:lnTo>
                    <a:pt x="644" y="2154"/>
                  </a:lnTo>
                  <a:lnTo>
                    <a:pt x="693" y="2116"/>
                  </a:lnTo>
                  <a:lnTo>
                    <a:pt x="780" y="2067"/>
                  </a:lnTo>
                  <a:lnTo>
                    <a:pt x="823" y="2017"/>
                  </a:lnTo>
                  <a:lnTo>
                    <a:pt x="909" y="2017"/>
                  </a:lnTo>
                  <a:lnTo>
                    <a:pt x="953" y="2067"/>
                  </a:lnTo>
                  <a:lnTo>
                    <a:pt x="1039" y="2166"/>
                  </a:lnTo>
                  <a:lnTo>
                    <a:pt x="1178" y="2123"/>
                  </a:lnTo>
                  <a:lnTo>
                    <a:pt x="1296" y="2091"/>
                  </a:lnTo>
                  <a:lnTo>
                    <a:pt x="1323" y="2012"/>
                  </a:lnTo>
                  <a:lnTo>
                    <a:pt x="1341" y="1918"/>
                  </a:lnTo>
                  <a:lnTo>
                    <a:pt x="1351" y="1837"/>
                  </a:lnTo>
                  <a:lnTo>
                    <a:pt x="1428" y="1770"/>
                  </a:lnTo>
                  <a:lnTo>
                    <a:pt x="1482" y="1845"/>
                  </a:lnTo>
                  <a:lnTo>
                    <a:pt x="1557" y="1869"/>
                  </a:lnTo>
                  <a:lnTo>
                    <a:pt x="1644" y="1869"/>
                  </a:lnTo>
                  <a:lnTo>
                    <a:pt x="1730" y="1918"/>
                  </a:lnTo>
                  <a:lnTo>
                    <a:pt x="1788" y="1956"/>
                  </a:lnTo>
                  <a:lnTo>
                    <a:pt x="1794" y="2059"/>
                  </a:lnTo>
                  <a:lnTo>
                    <a:pt x="1860" y="2116"/>
                  </a:lnTo>
                  <a:lnTo>
                    <a:pt x="1946" y="2166"/>
                  </a:lnTo>
                  <a:lnTo>
                    <a:pt x="1995" y="2147"/>
                  </a:lnTo>
                  <a:lnTo>
                    <a:pt x="2072" y="2123"/>
                  </a:lnTo>
                  <a:lnTo>
                    <a:pt x="2162" y="2116"/>
                  </a:lnTo>
                  <a:lnTo>
                    <a:pt x="2224" y="2179"/>
                  </a:lnTo>
                  <a:lnTo>
                    <a:pt x="2249" y="2215"/>
                  </a:lnTo>
                  <a:lnTo>
                    <a:pt x="2279" y="2313"/>
                  </a:lnTo>
                  <a:lnTo>
                    <a:pt x="2336" y="2413"/>
                  </a:lnTo>
                  <a:lnTo>
                    <a:pt x="2336" y="2512"/>
                  </a:lnTo>
                  <a:lnTo>
                    <a:pt x="2404" y="2512"/>
                  </a:lnTo>
                  <a:lnTo>
                    <a:pt x="2465" y="2413"/>
                  </a:lnTo>
                  <a:lnTo>
                    <a:pt x="2552" y="2265"/>
                  </a:lnTo>
                  <a:lnTo>
                    <a:pt x="2649" y="2082"/>
                  </a:lnTo>
                  <a:lnTo>
                    <a:pt x="2567" y="1924"/>
                  </a:lnTo>
                  <a:lnTo>
                    <a:pt x="2583" y="1833"/>
                  </a:lnTo>
                  <a:lnTo>
                    <a:pt x="2771" y="1611"/>
                  </a:lnTo>
                  <a:lnTo>
                    <a:pt x="2874" y="1515"/>
                  </a:lnTo>
                  <a:lnTo>
                    <a:pt x="2856" y="1403"/>
                  </a:lnTo>
                  <a:lnTo>
                    <a:pt x="2815" y="1319"/>
                  </a:lnTo>
                  <a:lnTo>
                    <a:pt x="2886" y="1237"/>
                  </a:lnTo>
                  <a:lnTo>
                    <a:pt x="2935" y="1160"/>
                  </a:lnTo>
                  <a:lnTo>
                    <a:pt x="2915" y="1083"/>
                  </a:lnTo>
                  <a:lnTo>
                    <a:pt x="2758" y="889"/>
                  </a:lnTo>
                  <a:lnTo>
                    <a:pt x="2647" y="777"/>
                  </a:lnTo>
                  <a:lnTo>
                    <a:pt x="2524" y="638"/>
                  </a:lnTo>
                  <a:lnTo>
                    <a:pt x="2397" y="638"/>
                  </a:lnTo>
                  <a:lnTo>
                    <a:pt x="2317" y="606"/>
                  </a:lnTo>
                  <a:lnTo>
                    <a:pt x="2224" y="484"/>
                  </a:lnTo>
                  <a:lnTo>
                    <a:pt x="2183" y="374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7" name="Freeform 81">
              <a:extLst>
                <a:ext uri="{FF2B5EF4-FFF2-40B4-BE49-F238E27FC236}">
                  <a16:creationId xmlns:a16="http://schemas.microsoft.com/office/drawing/2014/main" id="{7D20438A-ADC3-5BF7-2EF7-417D86C1D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0173" y="4811713"/>
              <a:ext cx="590550" cy="1122362"/>
            </a:xfrm>
            <a:custGeom>
              <a:avLst/>
              <a:gdLst>
                <a:gd name="T0" fmla="*/ 1859 w 1859"/>
                <a:gd name="T1" fmla="*/ 743 h 3536"/>
                <a:gd name="T2" fmla="*/ 1801 w 1859"/>
                <a:gd name="T3" fmla="*/ 542 h 3536"/>
                <a:gd name="T4" fmla="*/ 1747 w 1859"/>
                <a:gd name="T5" fmla="*/ 406 h 3536"/>
                <a:gd name="T6" fmla="*/ 1584 w 1859"/>
                <a:gd name="T7" fmla="*/ 354 h 3536"/>
                <a:gd name="T8" fmla="*/ 1384 w 1859"/>
                <a:gd name="T9" fmla="*/ 346 h 3536"/>
                <a:gd name="T10" fmla="*/ 1313 w 1859"/>
                <a:gd name="T11" fmla="*/ 186 h 3536"/>
                <a:gd name="T12" fmla="*/ 1170 w 1859"/>
                <a:gd name="T13" fmla="*/ 99 h 3536"/>
                <a:gd name="T14" fmla="*/ 1006 w 1859"/>
                <a:gd name="T15" fmla="*/ 76 h 3536"/>
                <a:gd name="T16" fmla="*/ 874 w 1859"/>
                <a:gd name="T17" fmla="*/ 69 h 3536"/>
                <a:gd name="T18" fmla="*/ 848 w 1859"/>
                <a:gd name="T19" fmla="*/ 240 h 3536"/>
                <a:gd name="T20" fmla="*/ 702 w 1859"/>
                <a:gd name="T21" fmla="*/ 352 h 3536"/>
                <a:gd name="T22" fmla="*/ 549 w 1859"/>
                <a:gd name="T23" fmla="*/ 502 h 3536"/>
                <a:gd name="T24" fmla="*/ 619 w 1859"/>
                <a:gd name="T25" fmla="*/ 622 h 3536"/>
                <a:gd name="T26" fmla="*/ 743 w 1859"/>
                <a:gd name="T27" fmla="*/ 824 h 3536"/>
                <a:gd name="T28" fmla="*/ 688 w 1859"/>
                <a:gd name="T29" fmla="*/ 987 h 3536"/>
                <a:gd name="T30" fmla="*/ 526 w 1859"/>
                <a:gd name="T31" fmla="*/ 1069 h 3536"/>
                <a:gd name="T32" fmla="*/ 458 w 1859"/>
                <a:gd name="T33" fmla="*/ 1196 h 3536"/>
                <a:gd name="T34" fmla="*/ 386 w 1859"/>
                <a:gd name="T35" fmla="*/ 1404 h 3536"/>
                <a:gd name="T36" fmla="*/ 224 w 1859"/>
                <a:gd name="T37" fmla="*/ 1467 h 3536"/>
                <a:gd name="T38" fmla="*/ 101 w 1859"/>
                <a:gd name="T39" fmla="*/ 1515 h 3536"/>
                <a:gd name="T40" fmla="*/ 52 w 1859"/>
                <a:gd name="T41" fmla="*/ 1665 h 3536"/>
                <a:gd name="T42" fmla="*/ 83 w 1859"/>
                <a:gd name="T43" fmla="*/ 1814 h 3536"/>
                <a:gd name="T44" fmla="*/ 95 w 1859"/>
                <a:gd name="T45" fmla="*/ 2012 h 3536"/>
                <a:gd name="T46" fmla="*/ 48 w 1859"/>
                <a:gd name="T47" fmla="*/ 2209 h 3536"/>
                <a:gd name="T48" fmla="*/ 9 w 1859"/>
                <a:gd name="T49" fmla="*/ 2358 h 3536"/>
                <a:gd name="T50" fmla="*/ 89 w 1859"/>
                <a:gd name="T51" fmla="*/ 2515 h 3536"/>
                <a:gd name="T52" fmla="*/ 155 w 1859"/>
                <a:gd name="T53" fmla="*/ 2654 h 3536"/>
                <a:gd name="T54" fmla="*/ 343 w 1859"/>
                <a:gd name="T55" fmla="*/ 2800 h 3536"/>
                <a:gd name="T56" fmla="*/ 452 w 1859"/>
                <a:gd name="T57" fmla="*/ 2946 h 3536"/>
                <a:gd name="T58" fmla="*/ 537 w 1859"/>
                <a:gd name="T59" fmla="*/ 3050 h 3536"/>
                <a:gd name="T60" fmla="*/ 622 w 1859"/>
                <a:gd name="T61" fmla="*/ 3210 h 3536"/>
                <a:gd name="T62" fmla="*/ 700 w 1859"/>
                <a:gd name="T63" fmla="*/ 3398 h 3536"/>
                <a:gd name="T64" fmla="*/ 873 w 1859"/>
                <a:gd name="T65" fmla="*/ 3497 h 3536"/>
                <a:gd name="T66" fmla="*/ 827 w 1859"/>
                <a:gd name="T67" fmla="*/ 3257 h 3536"/>
                <a:gd name="T68" fmla="*/ 830 w 1859"/>
                <a:gd name="T69" fmla="*/ 3052 h 3536"/>
                <a:gd name="T70" fmla="*/ 873 w 1859"/>
                <a:gd name="T71" fmla="*/ 2853 h 3536"/>
                <a:gd name="T72" fmla="*/ 1062 w 1859"/>
                <a:gd name="T73" fmla="*/ 2646 h 3536"/>
                <a:gd name="T74" fmla="*/ 1131 w 1859"/>
                <a:gd name="T75" fmla="*/ 2384 h 3536"/>
                <a:gd name="T76" fmla="*/ 1089 w 1859"/>
                <a:gd name="T77" fmla="*/ 2160 h 3536"/>
                <a:gd name="T78" fmla="*/ 1216 w 1859"/>
                <a:gd name="T79" fmla="*/ 2015 h 3536"/>
                <a:gd name="T80" fmla="*/ 1102 w 1859"/>
                <a:gd name="T81" fmla="*/ 1875 h 3536"/>
                <a:gd name="T82" fmla="*/ 1076 w 1859"/>
                <a:gd name="T83" fmla="*/ 1733 h 3536"/>
                <a:gd name="T84" fmla="*/ 1155 w 1859"/>
                <a:gd name="T85" fmla="*/ 1564 h 3536"/>
                <a:gd name="T86" fmla="*/ 1180 w 1859"/>
                <a:gd name="T87" fmla="*/ 1392 h 3536"/>
                <a:gd name="T88" fmla="*/ 1367 w 1859"/>
                <a:gd name="T89" fmla="*/ 1377 h 3536"/>
                <a:gd name="T90" fmla="*/ 1505 w 1859"/>
                <a:gd name="T91" fmla="*/ 1233 h 3536"/>
                <a:gd name="T92" fmla="*/ 1651 w 1859"/>
                <a:gd name="T93" fmla="*/ 1071 h 3536"/>
                <a:gd name="T94" fmla="*/ 1748 w 1859"/>
                <a:gd name="T95" fmla="*/ 781 h 3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9" h="3536">
                  <a:moveTo>
                    <a:pt x="1748" y="781"/>
                  </a:moveTo>
                  <a:lnTo>
                    <a:pt x="1859" y="743"/>
                  </a:lnTo>
                  <a:lnTo>
                    <a:pt x="1859" y="646"/>
                  </a:lnTo>
                  <a:lnTo>
                    <a:pt x="1801" y="542"/>
                  </a:lnTo>
                  <a:lnTo>
                    <a:pt x="1774" y="449"/>
                  </a:lnTo>
                  <a:lnTo>
                    <a:pt x="1747" y="406"/>
                  </a:lnTo>
                  <a:lnTo>
                    <a:pt x="1687" y="345"/>
                  </a:lnTo>
                  <a:lnTo>
                    <a:pt x="1584" y="354"/>
                  </a:lnTo>
                  <a:lnTo>
                    <a:pt x="1470" y="394"/>
                  </a:lnTo>
                  <a:lnTo>
                    <a:pt x="1384" y="346"/>
                  </a:lnTo>
                  <a:lnTo>
                    <a:pt x="1318" y="289"/>
                  </a:lnTo>
                  <a:lnTo>
                    <a:pt x="1313" y="186"/>
                  </a:lnTo>
                  <a:lnTo>
                    <a:pt x="1249" y="146"/>
                  </a:lnTo>
                  <a:lnTo>
                    <a:pt x="1170" y="99"/>
                  </a:lnTo>
                  <a:lnTo>
                    <a:pt x="1080" y="99"/>
                  </a:lnTo>
                  <a:lnTo>
                    <a:pt x="1006" y="76"/>
                  </a:lnTo>
                  <a:lnTo>
                    <a:pt x="950" y="0"/>
                  </a:lnTo>
                  <a:lnTo>
                    <a:pt x="874" y="69"/>
                  </a:lnTo>
                  <a:lnTo>
                    <a:pt x="866" y="148"/>
                  </a:lnTo>
                  <a:lnTo>
                    <a:pt x="848" y="240"/>
                  </a:lnTo>
                  <a:lnTo>
                    <a:pt x="820" y="321"/>
                  </a:lnTo>
                  <a:lnTo>
                    <a:pt x="702" y="352"/>
                  </a:lnTo>
                  <a:lnTo>
                    <a:pt x="563" y="396"/>
                  </a:lnTo>
                  <a:lnTo>
                    <a:pt x="549" y="502"/>
                  </a:lnTo>
                  <a:lnTo>
                    <a:pt x="528" y="573"/>
                  </a:lnTo>
                  <a:lnTo>
                    <a:pt x="619" y="622"/>
                  </a:lnTo>
                  <a:lnTo>
                    <a:pt x="709" y="712"/>
                  </a:lnTo>
                  <a:lnTo>
                    <a:pt x="743" y="824"/>
                  </a:lnTo>
                  <a:lnTo>
                    <a:pt x="743" y="918"/>
                  </a:lnTo>
                  <a:lnTo>
                    <a:pt x="688" y="987"/>
                  </a:lnTo>
                  <a:lnTo>
                    <a:pt x="600" y="1023"/>
                  </a:lnTo>
                  <a:lnTo>
                    <a:pt x="526" y="1069"/>
                  </a:lnTo>
                  <a:lnTo>
                    <a:pt x="483" y="1134"/>
                  </a:lnTo>
                  <a:lnTo>
                    <a:pt x="458" y="1196"/>
                  </a:lnTo>
                  <a:lnTo>
                    <a:pt x="440" y="1318"/>
                  </a:lnTo>
                  <a:lnTo>
                    <a:pt x="386" y="1404"/>
                  </a:lnTo>
                  <a:lnTo>
                    <a:pt x="295" y="1425"/>
                  </a:lnTo>
                  <a:lnTo>
                    <a:pt x="224" y="1467"/>
                  </a:lnTo>
                  <a:lnTo>
                    <a:pt x="138" y="1467"/>
                  </a:lnTo>
                  <a:lnTo>
                    <a:pt x="101" y="1515"/>
                  </a:lnTo>
                  <a:lnTo>
                    <a:pt x="52" y="1566"/>
                  </a:lnTo>
                  <a:lnTo>
                    <a:pt x="52" y="1665"/>
                  </a:lnTo>
                  <a:lnTo>
                    <a:pt x="77" y="1745"/>
                  </a:lnTo>
                  <a:lnTo>
                    <a:pt x="83" y="1814"/>
                  </a:lnTo>
                  <a:lnTo>
                    <a:pt x="95" y="1913"/>
                  </a:lnTo>
                  <a:lnTo>
                    <a:pt x="95" y="2012"/>
                  </a:lnTo>
                  <a:lnTo>
                    <a:pt x="100" y="2116"/>
                  </a:lnTo>
                  <a:lnTo>
                    <a:pt x="48" y="2209"/>
                  </a:lnTo>
                  <a:lnTo>
                    <a:pt x="0" y="2289"/>
                  </a:lnTo>
                  <a:lnTo>
                    <a:pt x="9" y="2358"/>
                  </a:lnTo>
                  <a:lnTo>
                    <a:pt x="59" y="2460"/>
                  </a:lnTo>
                  <a:lnTo>
                    <a:pt x="89" y="2515"/>
                  </a:lnTo>
                  <a:lnTo>
                    <a:pt x="107" y="2557"/>
                  </a:lnTo>
                  <a:lnTo>
                    <a:pt x="155" y="2654"/>
                  </a:lnTo>
                  <a:lnTo>
                    <a:pt x="228" y="2751"/>
                  </a:lnTo>
                  <a:lnTo>
                    <a:pt x="343" y="2800"/>
                  </a:lnTo>
                  <a:lnTo>
                    <a:pt x="397" y="2902"/>
                  </a:lnTo>
                  <a:lnTo>
                    <a:pt x="452" y="2946"/>
                  </a:lnTo>
                  <a:lnTo>
                    <a:pt x="484" y="3002"/>
                  </a:lnTo>
                  <a:lnTo>
                    <a:pt x="537" y="3050"/>
                  </a:lnTo>
                  <a:lnTo>
                    <a:pt x="586" y="3133"/>
                  </a:lnTo>
                  <a:lnTo>
                    <a:pt x="622" y="3210"/>
                  </a:lnTo>
                  <a:lnTo>
                    <a:pt x="652" y="3314"/>
                  </a:lnTo>
                  <a:lnTo>
                    <a:pt x="700" y="3398"/>
                  </a:lnTo>
                  <a:lnTo>
                    <a:pt x="780" y="3536"/>
                  </a:lnTo>
                  <a:lnTo>
                    <a:pt x="873" y="3497"/>
                  </a:lnTo>
                  <a:lnTo>
                    <a:pt x="875" y="3392"/>
                  </a:lnTo>
                  <a:lnTo>
                    <a:pt x="827" y="3257"/>
                  </a:lnTo>
                  <a:lnTo>
                    <a:pt x="785" y="3162"/>
                  </a:lnTo>
                  <a:lnTo>
                    <a:pt x="830" y="3052"/>
                  </a:lnTo>
                  <a:lnTo>
                    <a:pt x="877" y="2960"/>
                  </a:lnTo>
                  <a:lnTo>
                    <a:pt x="873" y="2853"/>
                  </a:lnTo>
                  <a:lnTo>
                    <a:pt x="1002" y="2754"/>
                  </a:lnTo>
                  <a:lnTo>
                    <a:pt x="1062" y="2646"/>
                  </a:lnTo>
                  <a:lnTo>
                    <a:pt x="1124" y="2495"/>
                  </a:lnTo>
                  <a:lnTo>
                    <a:pt x="1131" y="2384"/>
                  </a:lnTo>
                  <a:lnTo>
                    <a:pt x="1076" y="2250"/>
                  </a:lnTo>
                  <a:lnTo>
                    <a:pt x="1089" y="2160"/>
                  </a:lnTo>
                  <a:lnTo>
                    <a:pt x="1167" y="2078"/>
                  </a:lnTo>
                  <a:lnTo>
                    <a:pt x="1216" y="2015"/>
                  </a:lnTo>
                  <a:lnTo>
                    <a:pt x="1175" y="1962"/>
                  </a:lnTo>
                  <a:lnTo>
                    <a:pt x="1102" y="1875"/>
                  </a:lnTo>
                  <a:lnTo>
                    <a:pt x="1048" y="1815"/>
                  </a:lnTo>
                  <a:lnTo>
                    <a:pt x="1076" y="1733"/>
                  </a:lnTo>
                  <a:lnTo>
                    <a:pt x="1132" y="1665"/>
                  </a:lnTo>
                  <a:lnTo>
                    <a:pt x="1155" y="1564"/>
                  </a:lnTo>
                  <a:lnTo>
                    <a:pt x="1175" y="1467"/>
                  </a:lnTo>
                  <a:lnTo>
                    <a:pt x="1180" y="1392"/>
                  </a:lnTo>
                  <a:lnTo>
                    <a:pt x="1261" y="1368"/>
                  </a:lnTo>
                  <a:lnTo>
                    <a:pt x="1367" y="1377"/>
                  </a:lnTo>
                  <a:lnTo>
                    <a:pt x="1450" y="1298"/>
                  </a:lnTo>
                  <a:lnTo>
                    <a:pt x="1505" y="1233"/>
                  </a:lnTo>
                  <a:lnTo>
                    <a:pt x="1608" y="1121"/>
                  </a:lnTo>
                  <a:lnTo>
                    <a:pt x="1651" y="1071"/>
                  </a:lnTo>
                  <a:lnTo>
                    <a:pt x="1671" y="892"/>
                  </a:lnTo>
                  <a:lnTo>
                    <a:pt x="1748" y="781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8" name="Freeform 82">
              <a:extLst>
                <a:ext uri="{FF2B5EF4-FFF2-40B4-BE49-F238E27FC236}">
                  <a16:creationId xmlns:a16="http://schemas.microsoft.com/office/drawing/2014/main" id="{3018B3AB-4C20-DBBC-C9EB-E17E4D10C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4211" y="4327525"/>
              <a:ext cx="757237" cy="746125"/>
            </a:xfrm>
            <a:custGeom>
              <a:avLst/>
              <a:gdLst>
                <a:gd name="T0" fmla="*/ 2934 w 3156"/>
                <a:gd name="T1" fmla="*/ 1614 h 2712"/>
                <a:gd name="T2" fmla="*/ 2660 w 3156"/>
                <a:gd name="T3" fmla="*/ 1685 h 2712"/>
                <a:gd name="T4" fmla="*/ 2450 w 3156"/>
                <a:gd name="T5" fmla="*/ 1389 h 2712"/>
                <a:gd name="T6" fmla="*/ 2072 w 3156"/>
                <a:gd name="T7" fmla="*/ 1310 h 2712"/>
                <a:gd name="T8" fmla="*/ 1722 w 3156"/>
                <a:gd name="T9" fmla="*/ 1367 h 2712"/>
                <a:gd name="T10" fmla="*/ 1667 w 3156"/>
                <a:gd name="T11" fmla="*/ 1199 h 2712"/>
                <a:gd name="T12" fmla="*/ 1608 w 3156"/>
                <a:gd name="T13" fmla="*/ 1083 h 2712"/>
                <a:gd name="T14" fmla="*/ 1500 w 3156"/>
                <a:gd name="T15" fmla="*/ 972 h 2712"/>
                <a:gd name="T16" fmla="*/ 1382 w 3156"/>
                <a:gd name="T17" fmla="*/ 854 h 2712"/>
                <a:gd name="T18" fmla="*/ 1142 w 3156"/>
                <a:gd name="T19" fmla="*/ 872 h 2712"/>
                <a:gd name="T20" fmla="*/ 867 w 3156"/>
                <a:gd name="T21" fmla="*/ 911 h 2712"/>
                <a:gd name="T22" fmla="*/ 639 w 3156"/>
                <a:gd name="T23" fmla="*/ 854 h 2712"/>
                <a:gd name="T24" fmla="*/ 468 w 3156"/>
                <a:gd name="T25" fmla="*/ 626 h 2712"/>
                <a:gd name="T26" fmla="*/ 411 w 3156"/>
                <a:gd name="T27" fmla="*/ 456 h 2712"/>
                <a:gd name="T28" fmla="*/ 411 w 3156"/>
                <a:gd name="T29" fmla="*/ 285 h 2712"/>
                <a:gd name="T30" fmla="*/ 357 w 3156"/>
                <a:gd name="T31" fmla="*/ 116 h 2712"/>
                <a:gd name="T32" fmla="*/ 185 w 3156"/>
                <a:gd name="T33" fmla="*/ 0 h 2712"/>
                <a:gd name="T34" fmla="*/ 138 w 3156"/>
                <a:gd name="T35" fmla="*/ 132 h 2712"/>
                <a:gd name="T36" fmla="*/ 126 w 3156"/>
                <a:gd name="T37" fmla="*/ 288 h 2712"/>
                <a:gd name="T38" fmla="*/ 113 w 3156"/>
                <a:gd name="T39" fmla="*/ 395 h 2712"/>
                <a:gd name="T40" fmla="*/ 54 w 3156"/>
                <a:gd name="T41" fmla="*/ 624 h 2712"/>
                <a:gd name="T42" fmla="*/ 54 w 3156"/>
                <a:gd name="T43" fmla="*/ 792 h 2712"/>
                <a:gd name="T44" fmla="*/ 60 w 3156"/>
                <a:gd name="T45" fmla="*/ 918 h 2712"/>
                <a:gd name="T46" fmla="*/ 60 w 3156"/>
                <a:gd name="T47" fmla="*/ 1056 h 2712"/>
                <a:gd name="T48" fmla="*/ 78 w 3156"/>
                <a:gd name="T49" fmla="*/ 1242 h 2712"/>
                <a:gd name="T50" fmla="*/ 42 w 3156"/>
                <a:gd name="T51" fmla="*/ 1482 h 2712"/>
                <a:gd name="T52" fmla="*/ 84 w 3156"/>
                <a:gd name="T53" fmla="*/ 1650 h 2712"/>
                <a:gd name="T54" fmla="*/ 78 w 3156"/>
                <a:gd name="T55" fmla="*/ 1776 h 2712"/>
                <a:gd name="T56" fmla="*/ 56 w 3156"/>
                <a:gd name="T57" fmla="*/ 1878 h 2712"/>
                <a:gd name="T58" fmla="*/ 56 w 3156"/>
                <a:gd name="T59" fmla="*/ 2049 h 2712"/>
                <a:gd name="T60" fmla="*/ 36 w 3156"/>
                <a:gd name="T61" fmla="*/ 2286 h 2712"/>
                <a:gd name="T62" fmla="*/ 66 w 3156"/>
                <a:gd name="T63" fmla="*/ 2460 h 2712"/>
                <a:gd name="T64" fmla="*/ 284 w 3156"/>
                <a:gd name="T65" fmla="*/ 2277 h 2712"/>
                <a:gd name="T66" fmla="*/ 398 w 3156"/>
                <a:gd name="T67" fmla="*/ 2277 h 2712"/>
                <a:gd name="T68" fmla="*/ 594 w 3156"/>
                <a:gd name="T69" fmla="*/ 2220 h 2712"/>
                <a:gd name="T70" fmla="*/ 854 w 3156"/>
                <a:gd name="T71" fmla="*/ 2049 h 2712"/>
                <a:gd name="T72" fmla="*/ 1050 w 3156"/>
                <a:gd name="T73" fmla="*/ 1980 h 2712"/>
                <a:gd name="T74" fmla="*/ 1253 w 3156"/>
                <a:gd name="T75" fmla="*/ 1935 h 2712"/>
                <a:gd name="T76" fmla="*/ 1481 w 3156"/>
                <a:gd name="T77" fmla="*/ 1935 h 2712"/>
                <a:gd name="T78" fmla="*/ 1710 w 3156"/>
                <a:gd name="T79" fmla="*/ 1956 h 2712"/>
                <a:gd name="T80" fmla="*/ 1879 w 3156"/>
                <a:gd name="T81" fmla="*/ 1992 h 2712"/>
                <a:gd name="T82" fmla="*/ 2164 w 3156"/>
                <a:gd name="T83" fmla="*/ 1992 h 2712"/>
                <a:gd name="T84" fmla="*/ 2376 w 3156"/>
                <a:gd name="T85" fmla="*/ 2022 h 2712"/>
                <a:gd name="T86" fmla="*/ 2449 w 3156"/>
                <a:gd name="T87" fmla="*/ 2277 h 2712"/>
                <a:gd name="T88" fmla="*/ 2544 w 3156"/>
                <a:gd name="T89" fmla="*/ 2514 h 2712"/>
                <a:gd name="T90" fmla="*/ 2760 w 3156"/>
                <a:gd name="T91" fmla="*/ 2634 h 2712"/>
                <a:gd name="T92" fmla="*/ 2994 w 3156"/>
                <a:gd name="T93" fmla="*/ 2646 h 2712"/>
                <a:gd name="T94" fmla="*/ 3078 w 3156"/>
                <a:gd name="T95" fmla="*/ 2430 h 2712"/>
                <a:gd name="T96" fmla="*/ 3090 w 3156"/>
                <a:gd name="T97" fmla="*/ 2166 h 2712"/>
                <a:gd name="T98" fmla="*/ 2814 w 3156"/>
                <a:gd name="T99" fmla="*/ 2202 h 2712"/>
                <a:gd name="T100" fmla="*/ 2742 w 3156"/>
                <a:gd name="T101" fmla="*/ 2076 h 2712"/>
                <a:gd name="T102" fmla="*/ 2905 w 3156"/>
                <a:gd name="T103" fmla="*/ 1935 h 2712"/>
                <a:gd name="T104" fmla="*/ 3053 w 3156"/>
                <a:gd name="T105" fmla="*/ 1673 h 2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156" h="2712">
                  <a:moveTo>
                    <a:pt x="3053" y="1673"/>
                  </a:moveTo>
                  <a:lnTo>
                    <a:pt x="2934" y="1614"/>
                  </a:lnTo>
                  <a:lnTo>
                    <a:pt x="2753" y="1665"/>
                  </a:lnTo>
                  <a:lnTo>
                    <a:pt x="2660" y="1685"/>
                  </a:lnTo>
                  <a:lnTo>
                    <a:pt x="2561" y="1559"/>
                  </a:lnTo>
                  <a:lnTo>
                    <a:pt x="2450" y="1389"/>
                  </a:lnTo>
                  <a:lnTo>
                    <a:pt x="2276" y="1272"/>
                  </a:lnTo>
                  <a:lnTo>
                    <a:pt x="2072" y="1310"/>
                  </a:lnTo>
                  <a:lnTo>
                    <a:pt x="1895" y="1367"/>
                  </a:lnTo>
                  <a:lnTo>
                    <a:pt x="1722" y="1367"/>
                  </a:lnTo>
                  <a:lnTo>
                    <a:pt x="1677" y="1317"/>
                  </a:lnTo>
                  <a:lnTo>
                    <a:pt x="1667" y="1199"/>
                  </a:lnTo>
                  <a:lnTo>
                    <a:pt x="1611" y="1140"/>
                  </a:lnTo>
                  <a:lnTo>
                    <a:pt x="1608" y="1083"/>
                  </a:lnTo>
                  <a:lnTo>
                    <a:pt x="1566" y="996"/>
                  </a:lnTo>
                  <a:lnTo>
                    <a:pt x="1500" y="972"/>
                  </a:lnTo>
                  <a:lnTo>
                    <a:pt x="1448" y="914"/>
                  </a:lnTo>
                  <a:lnTo>
                    <a:pt x="1382" y="854"/>
                  </a:lnTo>
                  <a:lnTo>
                    <a:pt x="1257" y="849"/>
                  </a:lnTo>
                  <a:lnTo>
                    <a:pt x="1142" y="872"/>
                  </a:lnTo>
                  <a:lnTo>
                    <a:pt x="974" y="897"/>
                  </a:lnTo>
                  <a:lnTo>
                    <a:pt x="867" y="911"/>
                  </a:lnTo>
                  <a:lnTo>
                    <a:pt x="755" y="854"/>
                  </a:lnTo>
                  <a:lnTo>
                    <a:pt x="639" y="854"/>
                  </a:lnTo>
                  <a:lnTo>
                    <a:pt x="527" y="743"/>
                  </a:lnTo>
                  <a:lnTo>
                    <a:pt x="468" y="626"/>
                  </a:lnTo>
                  <a:lnTo>
                    <a:pt x="411" y="569"/>
                  </a:lnTo>
                  <a:lnTo>
                    <a:pt x="411" y="456"/>
                  </a:lnTo>
                  <a:lnTo>
                    <a:pt x="423" y="368"/>
                  </a:lnTo>
                  <a:lnTo>
                    <a:pt x="411" y="285"/>
                  </a:lnTo>
                  <a:lnTo>
                    <a:pt x="411" y="173"/>
                  </a:lnTo>
                  <a:lnTo>
                    <a:pt x="357" y="116"/>
                  </a:lnTo>
                  <a:lnTo>
                    <a:pt x="240" y="56"/>
                  </a:lnTo>
                  <a:lnTo>
                    <a:pt x="185" y="0"/>
                  </a:lnTo>
                  <a:lnTo>
                    <a:pt x="156" y="60"/>
                  </a:lnTo>
                  <a:lnTo>
                    <a:pt x="138" y="132"/>
                  </a:lnTo>
                  <a:lnTo>
                    <a:pt x="138" y="216"/>
                  </a:lnTo>
                  <a:lnTo>
                    <a:pt x="126" y="288"/>
                  </a:lnTo>
                  <a:lnTo>
                    <a:pt x="114" y="348"/>
                  </a:lnTo>
                  <a:lnTo>
                    <a:pt x="113" y="395"/>
                  </a:lnTo>
                  <a:lnTo>
                    <a:pt x="78" y="510"/>
                  </a:lnTo>
                  <a:lnTo>
                    <a:pt x="54" y="624"/>
                  </a:lnTo>
                  <a:lnTo>
                    <a:pt x="66" y="738"/>
                  </a:lnTo>
                  <a:lnTo>
                    <a:pt x="54" y="792"/>
                  </a:lnTo>
                  <a:lnTo>
                    <a:pt x="48" y="858"/>
                  </a:lnTo>
                  <a:lnTo>
                    <a:pt x="60" y="918"/>
                  </a:lnTo>
                  <a:lnTo>
                    <a:pt x="78" y="978"/>
                  </a:lnTo>
                  <a:lnTo>
                    <a:pt x="60" y="1056"/>
                  </a:lnTo>
                  <a:lnTo>
                    <a:pt x="84" y="1140"/>
                  </a:lnTo>
                  <a:lnTo>
                    <a:pt x="78" y="1242"/>
                  </a:lnTo>
                  <a:lnTo>
                    <a:pt x="48" y="1356"/>
                  </a:lnTo>
                  <a:lnTo>
                    <a:pt x="42" y="1482"/>
                  </a:lnTo>
                  <a:lnTo>
                    <a:pt x="66" y="1596"/>
                  </a:lnTo>
                  <a:lnTo>
                    <a:pt x="84" y="1650"/>
                  </a:lnTo>
                  <a:lnTo>
                    <a:pt x="56" y="1707"/>
                  </a:lnTo>
                  <a:lnTo>
                    <a:pt x="78" y="1776"/>
                  </a:lnTo>
                  <a:lnTo>
                    <a:pt x="42" y="1818"/>
                  </a:lnTo>
                  <a:lnTo>
                    <a:pt x="56" y="1878"/>
                  </a:lnTo>
                  <a:lnTo>
                    <a:pt x="56" y="1935"/>
                  </a:lnTo>
                  <a:lnTo>
                    <a:pt x="56" y="2049"/>
                  </a:lnTo>
                  <a:lnTo>
                    <a:pt x="56" y="2163"/>
                  </a:lnTo>
                  <a:lnTo>
                    <a:pt x="36" y="2286"/>
                  </a:lnTo>
                  <a:lnTo>
                    <a:pt x="0" y="2382"/>
                  </a:lnTo>
                  <a:lnTo>
                    <a:pt x="66" y="2460"/>
                  </a:lnTo>
                  <a:lnTo>
                    <a:pt x="186" y="2322"/>
                  </a:lnTo>
                  <a:lnTo>
                    <a:pt x="284" y="2277"/>
                  </a:lnTo>
                  <a:lnTo>
                    <a:pt x="324" y="2262"/>
                  </a:lnTo>
                  <a:lnTo>
                    <a:pt x="398" y="2277"/>
                  </a:lnTo>
                  <a:lnTo>
                    <a:pt x="504" y="2286"/>
                  </a:lnTo>
                  <a:lnTo>
                    <a:pt x="594" y="2220"/>
                  </a:lnTo>
                  <a:lnTo>
                    <a:pt x="740" y="2106"/>
                  </a:lnTo>
                  <a:lnTo>
                    <a:pt x="854" y="2049"/>
                  </a:lnTo>
                  <a:lnTo>
                    <a:pt x="954" y="2034"/>
                  </a:lnTo>
                  <a:lnTo>
                    <a:pt x="1050" y="1980"/>
                  </a:lnTo>
                  <a:lnTo>
                    <a:pt x="1139" y="1935"/>
                  </a:lnTo>
                  <a:lnTo>
                    <a:pt x="1253" y="1935"/>
                  </a:lnTo>
                  <a:lnTo>
                    <a:pt x="1374" y="1944"/>
                  </a:lnTo>
                  <a:lnTo>
                    <a:pt x="1481" y="1935"/>
                  </a:lnTo>
                  <a:lnTo>
                    <a:pt x="1608" y="1950"/>
                  </a:lnTo>
                  <a:lnTo>
                    <a:pt x="1710" y="1956"/>
                  </a:lnTo>
                  <a:lnTo>
                    <a:pt x="1788" y="1980"/>
                  </a:lnTo>
                  <a:lnTo>
                    <a:pt x="1879" y="1992"/>
                  </a:lnTo>
                  <a:lnTo>
                    <a:pt x="2016" y="2010"/>
                  </a:lnTo>
                  <a:lnTo>
                    <a:pt x="2164" y="1992"/>
                  </a:lnTo>
                  <a:lnTo>
                    <a:pt x="2286" y="2034"/>
                  </a:lnTo>
                  <a:lnTo>
                    <a:pt x="2376" y="2022"/>
                  </a:lnTo>
                  <a:lnTo>
                    <a:pt x="2448" y="2178"/>
                  </a:lnTo>
                  <a:lnTo>
                    <a:pt x="2449" y="2277"/>
                  </a:lnTo>
                  <a:lnTo>
                    <a:pt x="2472" y="2418"/>
                  </a:lnTo>
                  <a:lnTo>
                    <a:pt x="2544" y="2514"/>
                  </a:lnTo>
                  <a:lnTo>
                    <a:pt x="2550" y="2616"/>
                  </a:lnTo>
                  <a:lnTo>
                    <a:pt x="2760" y="2634"/>
                  </a:lnTo>
                  <a:lnTo>
                    <a:pt x="2940" y="2712"/>
                  </a:lnTo>
                  <a:lnTo>
                    <a:pt x="2994" y="2646"/>
                  </a:lnTo>
                  <a:lnTo>
                    <a:pt x="3012" y="2532"/>
                  </a:lnTo>
                  <a:lnTo>
                    <a:pt x="3078" y="2430"/>
                  </a:lnTo>
                  <a:lnTo>
                    <a:pt x="3156" y="2286"/>
                  </a:lnTo>
                  <a:lnTo>
                    <a:pt x="3090" y="2166"/>
                  </a:lnTo>
                  <a:lnTo>
                    <a:pt x="2922" y="2196"/>
                  </a:lnTo>
                  <a:lnTo>
                    <a:pt x="2814" y="2202"/>
                  </a:lnTo>
                  <a:lnTo>
                    <a:pt x="2734" y="2163"/>
                  </a:lnTo>
                  <a:lnTo>
                    <a:pt x="2742" y="2076"/>
                  </a:lnTo>
                  <a:lnTo>
                    <a:pt x="2814" y="1986"/>
                  </a:lnTo>
                  <a:lnTo>
                    <a:pt x="2905" y="1935"/>
                  </a:lnTo>
                  <a:lnTo>
                    <a:pt x="2994" y="1812"/>
                  </a:lnTo>
                  <a:lnTo>
                    <a:pt x="3053" y="1673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89" name="Freeform 83">
              <a:extLst>
                <a:ext uri="{FF2B5EF4-FFF2-40B4-BE49-F238E27FC236}">
                  <a16:creationId xmlns:a16="http://schemas.microsoft.com/office/drawing/2014/main" id="{4C7426F2-1D91-05EF-E669-B0A7F00E3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1436" y="4419600"/>
              <a:ext cx="625475" cy="860425"/>
            </a:xfrm>
            <a:custGeom>
              <a:avLst/>
              <a:gdLst>
                <a:gd name="T0" fmla="*/ 1512 w 2147"/>
                <a:gd name="T1" fmla="*/ 521 h 2987"/>
                <a:gd name="T2" fmla="*/ 1663 w 2147"/>
                <a:gd name="T3" fmla="*/ 330 h 2987"/>
                <a:gd name="T4" fmla="*/ 1723 w 2147"/>
                <a:gd name="T5" fmla="*/ 167 h 2987"/>
                <a:gd name="T6" fmla="*/ 1816 w 2147"/>
                <a:gd name="T7" fmla="*/ 98 h 2987"/>
                <a:gd name="T8" fmla="*/ 1925 w 2147"/>
                <a:gd name="T9" fmla="*/ 0 h 2987"/>
                <a:gd name="T10" fmla="*/ 2051 w 2147"/>
                <a:gd name="T11" fmla="*/ 100 h 2987"/>
                <a:gd name="T12" fmla="*/ 2054 w 2147"/>
                <a:gd name="T13" fmla="*/ 322 h 2987"/>
                <a:gd name="T14" fmla="*/ 2103 w 2147"/>
                <a:gd name="T15" fmla="*/ 394 h 2987"/>
                <a:gd name="T16" fmla="*/ 2123 w 2147"/>
                <a:gd name="T17" fmla="*/ 543 h 2987"/>
                <a:gd name="T18" fmla="*/ 2133 w 2147"/>
                <a:gd name="T19" fmla="*/ 667 h 2987"/>
                <a:gd name="T20" fmla="*/ 2076 w 2147"/>
                <a:gd name="T21" fmla="*/ 816 h 2987"/>
                <a:gd name="T22" fmla="*/ 1970 w 2147"/>
                <a:gd name="T23" fmla="*/ 983 h 2987"/>
                <a:gd name="T24" fmla="*/ 1935 w 2147"/>
                <a:gd name="T25" fmla="*/ 1089 h 2987"/>
                <a:gd name="T26" fmla="*/ 1888 w 2147"/>
                <a:gd name="T27" fmla="*/ 1144 h 2987"/>
                <a:gd name="T28" fmla="*/ 1841 w 2147"/>
                <a:gd name="T29" fmla="*/ 1253 h 2987"/>
                <a:gd name="T30" fmla="*/ 1861 w 2147"/>
                <a:gd name="T31" fmla="*/ 1362 h 2987"/>
                <a:gd name="T32" fmla="*/ 1841 w 2147"/>
                <a:gd name="T33" fmla="*/ 1471 h 2987"/>
                <a:gd name="T34" fmla="*/ 1733 w 2147"/>
                <a:gd name="T35" fmla="*/ 1609 h 2987"/>
                <a:gd name="T36" fmla="*/ 1589 w 2147"/>
                <a:gd name="T37" fmla="*/ 1661 h 2987"/>
                <a:gd name="T38" fmla="*/ 1465 w 2147"/>
                <a:gd name="T39" fmla="*/ 1471 h 2987"/>
                <a:gd name="T40" fmla="*/ 1277 w 2147"/>
                <a:gd name="T41" fmla="*/ 1416 h 2987"/>
                <a:gd name="T42" fmla="*/ 1230 w 2147"/>
                <a:gd name="T43" fmla="*/ 1416 h 2987"/>
                <a:gd name="T44" fmla="*/ 1136 w 2147"/>
                <a:gd name="T45" fmla="*/ 1526 h 2987"/>
                <a:gd name="T46" fmla="*/ 1120 w 2147"/>
                <a:gd name="T47" fmla="*/ 1643 h 2987"/>
                <a:gd name="T48" fmla="*/ 1075 w 2147"/>
                <a:gd name="T49" fmla="*/ 1724 h 2987"/>
                <a:gd name="T50" fmla="*/ 1016 w 2147"/>
                <a:gd name="T51" fmla="*/ 1833 h 2987"/>
                <a:gd name="T52" fmla="*/ 1075 w 2147"/>
                <a:gd name="T53" fmla="*/ 1999 h 2987"/>
                <a:gd name="T54" fmla="*/ 1041 w 2147"/>
                <a:gd name="T55" fmla="*/ 2126 h 2987"/>
                <a:gd name="T56" fmla="*/ 909 w 2147"/>
                <a:gd name="T57" fmla="*/ 2241 h 2987"/>
                <a:gd name="T58" fmla="*/ 927 w 2147"/>
                <a:gd name="T59" fmla="*/ 2401 h 2987"/>
                <a:gd name="T60" fmla="*/ 981 w 2147"/>
                <a:gd name="T61" fmla="*/ 2522 h 2987"/>
                <a:gd name="T62" fmla="*/ 1041 w 2147"/>
                <a:gd name="T63" fmla="*/ 2618 h 2987"/>
                <a:gd name="T64" fmla="*/ 995 w 2147"/>
                <a:gd name="T65" fmla="*/ 2724 h 2987"/>
                <a:gd name="T66" fmla="*/ 907 w 2147"/>
                <a:gd name="T67" fmla="*/ 2648 h 2987"/>
                <a:gd name="T68" fmla="*/ 854 w 2147"/>
                <a:gd name="T69" fmla="*/ 2727 h 2987"/>
                <a:gd name="T70" fmla="*/ 803 w 2147"/>
                <a:gd name="T71" fmla="*/ 2838 h 2987"/>
                <a:gd name="T72" fmla="*/ 774 w 2147"/>
                <a:gd name="T73" fmla="*/ 2987 h 2987"/>
                <a:gd name="T74" fmla="*/ 666 w 2147"/>
                <a:gd name="T75" fmla="*/ 2890 h 2987"/>
                <a:gd name="T76" fmla="*/ 572 w 2147"/>
                <a:gd name="T77" fmla="*/ 2727 h 2987"/>
                <a:gd name="T78" fmla="*/ 452 w 2147"/>
                <a:gd name="T79" fmla="*/ 2597 h 2987"/>
                <a:gd name="T80" fmla="*/ 289 w 2147"/>
                <a:gd name="T81" fmla="*/ 2399 h 2987"/>
                <a:gd name="T82" fmla="*/ 215 w 2147"/>
                <a:gd name="T83" fmla="*/ 2212 h 2987"/>
                <a:gd name="T84" fmla="*/ 284 w 2147"/>
                <a:gd name="T85" fmla="*/ 2004 h 2987"/>
                <a:gd name="T86" fmla="*/ 294 w 2147"/>
                <a:gd name="T87" fmla="*/ 1752 h 2987"/>
                <a:gd name="T88" fmla="*/ 69 w 2147"/>
                <a:gd name="T89" fmla="*/ 1787 h 2987"/>
                <a:gd name="T90" fmla="*/ 7 w 2147"/>
                <a:gd name="T91" fmla="*/ 1666 h 2987"/>
                <a:gd name="T92" fmla="*/ 143 w 2147"/>
                <a:gd name="T93" fmla="*/ 1531 h 2987"/>
                <a:gd name="T94" fmla="*/ 264 w 2147"/>
                <a:gd name="T95" fmla="*/ 1281 h 2987"/>
                <a:gd name="T96" fmla="*/ 333 w 2147"/>
                <a:gd name="T97" fmla="*/ 1106 h 2987"/>
                <a:gd name="T98" fmla="*/ 472 w 2147"/>
                <a:gd name="T99" fmla="*/ 897 h 2987"/>
                <a:gd name="T100" fmla="*/ 798 w 2147"/>
                <a:gd name="T101" fmla="*/ 627 h 2987"/>
                <a:gd name="T102" fmla="*/ 909 w 2147"/>
                <a:gd name="T103" fmla="*/ 730 h 2987"/>
                <a:gd name="T104" fmla="*/ 1047 w 2147"/>
                <a:gd name="T105" fmla="*/ 778 h 2987"/>
                <a:gd name="T106" fmla="*/ 1186 w 2147"/>
                <a:gd name="T107" fmla="*/ 669 h 2987"/>
                <a:gd name="T108" fmla="*/ 1330 w 2147"/>
                <a:gd name="T109" fmla="*/ 669 h 2987"/>
                <a:gd name="T110" fmla="*/ 1433 w 2147"/>
                <a:gd name="T111" fmla="*/ 667 h 2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7" h="2987">
                  <a:moveTo>
                    <a:pt x="1433" y="667"/>
                  </a:moveTo>
                  <a:lnTo>
                    <a:pt x="1512" y="521"/>
                  </a:lnTo>
                  <a:lnTo>
                    <a:pt x="1670" y="419"/>
                  </a:lnTo>
                  <a:lnTo>
                    <a:pt x="1663" y="330"/>
                  </a:lnTo>
                  <a:lnTo>
                    <a:pt x="1668" y="230"/>
                  </a:lnTo>
                  <a:lnTo>
                    <a:pt x="1723" y="167"/>
                  </a:lnTo>
                  <a:lnTo>
                    <a:pt x="1747" y="126"/>
                  </a:lnTo>
                  <a:lnTo>
                    <a:pt x="1816" y="98"/>
                  </a:lnTo>
                  <a:lnTo>
                    <a:pt x="1891" y="47"/>
                  </a:lnTo>
                  <a:lnTo>
                    <a:pt x="1925" y="0"/>
                  </a:lnTo>
                  <a:lnTo>
                    <a:pt x="2009" y="49"/>
                  </a:lnTo>
                  <a:lnTo>
                    <a:pt x="2051" y="100"/>
                  </a:lnTo>
                  <a:lnTo>
                    <a:pt x="2029" y="215"/>
                  </a:lnTo>
                  <a:lnTo>
                    <a:pt x="2054" y="322"/>
                  </a:lnTo>
                  <a:lnTo>
                    <a:pt x="2147" y="373"/>
                  </a:lnTo>
                  <a:lnTo>
                    <a:pt x="2103" y="394"/>
                  </a:lnTo>
                  <a:lnTo>
                    <a:pt x="2093" y="432"/>
                  </a:lnTo>
                  <a:lnTo>
                    <a:pt x="2123" y="543"/>
                  </a:lnTo>
                  <a:lnTo>
                    <a:pt x="2123" y="597"/>
                  </a:lnTo>
                  <a:lnTo>
                    <a:pt x="2133" y="667"/>
                  </a:lnTo>
                  <a:lnTo>
                    <a:pt x="2123" y="762"/>
                  </a:lnTo>
                  <a:lnTo>
                    <a:pt x="2076" y="816"/>
                  </a:lnTo>
                  <a:lnTo>
                    <a:pt x="2029" y="925"/>
                  </a:lnTo>
                  <a:lnTo>
                    <a:pt x="1970" y="983"/>
                  </a:lnTo>
                  <a:lnTo>
                    <a:pt x="1935" y="1035"/>
                  </a:lnTo>
                  <a:lnTo>
                    <a:pt x="1935" y="1089"/>
                  </a:lnTo>
                  <a:lnTo>
                    <a:pt x="1935" y="1089"/>
                  </a:lnTo>
                  <a:lnTo>
                    <a:pt x="1888" y="1144"/>
                  </a:lnTo>
                  <a:lnTo>
                    <a:pt x="1841" y="1198"/>
                  </a:lnTo>
                  <a:lnTo>
                    <a:pt x="1841" y="1253"/>
                  </a:lnTo>
                  <a:lnTo>
                    <a:pt x="1841" y="1307"/>
                  </a:lnTo>
                  <a:lnTo>
                    <a:pt x="1861" y="1362"/>
                  </a:lnTo>
                  <a:lnTo>
                    <a:pt x="1871" y="1437"/>
                  </a:lnTo>
                  <a:lnTo>
                    <a:pt x="1841" y="1471"/>
                  </a:lnTo>
                  <a:lnTo>
                    <a:pt x="1797" y="1546"/>
                  </a:lnTo>
                  <a:lnTo>
                    <a:pt x="1733" y="1609"/>
                  </a:lnTo>
                  <a:lnTo>
                    <a:pt x="1663" y="1661"/>
                  </a:lnTo>
                  <a:lnTo>
                    <a:pt x="1589" y="1661"/>
                  </a:lnTo>
                  <a:lnTo>
                    <a:pt x="1535" y="1528"/>
                  </a:lnTo>
                  <a:lnTo>
                    <a:pt x="1465" y="1471"/>
                  </a:lnTo>
                  <a:lnTo>
                    <a:pt x="1371" y="1416"/>
                  </a:lnTo>
                  <a:lnTo>
                    <a:pt x="1277" y="1416"/>
                  </a:lnTo>
                  <a:lnTo>
                    <a:pt x="1277" y="1416"/>
                  </a:lnTo>
                  <a:lnTo>
                    <a:pt x="1230" y="1416"/>
                  </a:lnTo>
                  <a:lnTo>
                    <a:pt x="1183" y="1471"/>
                  </a:lnTo>
                  <a:lnTo>
                    <a:pt x="1136" y="1526"/>
                  </a:lnTo>
                  <a:lnTo>
                    <a:pt x="1136" y="1580"/>
                  </a:lnTo>
                  <a:lnTo>
                    <a:pt x="1120" y="1643"/>
                  </a:lnTo>
                  <a:lnTo>
                    <a:pt x="1089" y="1689"/>
                  </a:lnTo>
                  <a:lnTo>
                    <a:pt x="1075" y="1724"/>
                  </a:lnTo>
                  <a:lnTo>
                    <a:pt x="1041" y="1744"/>
                  </a:lnTo>
                  <a:lnTo>
                    <a:pt x="1016" y="1833"/>
                  </a:lnTo>
                  <a:lnTo>
                    <a:pt x="991" y="1913"/>
                  </a:lnTo>
                  <a:lnTo>
                    <a:pt x="1075" y="1999"/>
                  </a:lnTo>
                  <a:lnTo>
                    <a:pt x="1089" y="2126"/>
                  </a:lnTo>
                  <a:lnTo>
                    <a:pt x="1041" y="2126"/>
                  </a:lnTo>
                  <a:lnTo>
                    <a:pt x="942" y="2206"/>
                  </a:lnTo>
                  <a:lnTo>
                    <a:pt x="909" y="2241"/>
                  </a:lnTo>
                  <a:lnTo>
                    <a:pt x="897" y="2292"/>
                  </a:lnTo>
                  <a:lnTo>
                    <a:pt x="927" y="2401"/>
                  </a:lnTo>
                  <a:lnTo>
                    <a:pt x="971" y="2453"/>
                  </a:lnTo>
                  <a:lnTo>
                    <a:pt x="981" y="2522"/>
                  </a:lnTo>
                  <a:lnTo>
                    <a:pt x="1011" y="2585"/>
                  </a:lnTo>
                  <a:lnTo>
                    <a:pt x="1041" y="2618"/>
                  </a:lnTo>
                  <a:lnTo>
                    <a:pt x="1038" y="2668"/>
                  </a:lnTo>
                  <a:lnTo>
                    <a:pt x="995" y="2724"/>
                  </a:lnTo>
                  <a:lnTo>
                    <a:pt x="947" y="2672"/>
                  </a:lnTo>
                  <a:lnTo>
                    <a:pt x="907" y="2648"/>
                  </a:lnTo>
                  <a:lnTo>
                    <a:pt x="854" y="2672"/>
                  </a:lnTo>
                  <a:lnTo>
                    <a:pt x="854" y="2727"/>
                  </a:lnTo>
                  <a:lnTo>
                    <a:pt x="807" y="2781"/>
                  </a:lnTo>
                  <a:lnTo>
                    <a:pt x="803" y="2838"/>
                  </a:lnTo>
                  <a:lnTo>
                    <a:pt x="798" y="2895"/>
                  </a:lnTo>
                  <a:lnTo>
                    <a:pt x="774" y="2987"/>
                  </a:lnTo>
                  <a:lnTo>
                    <a:pt x="729" y="2970"/>
                  </a:lnTo>
                  <a:lnTo>
                    <a:pt x="666" y="2890"/>
                  </a:lnTo>
                  <a:lnTo>
                    <a:pt x="610" y="2798"/>
                  </a:lnTo>
                  <a:lnTo>
                    <a:pt x="572" y="2727"/>
                  </a:lnTo>
                  <a:lnTo>
                    <a:pt x="517" y="2665"/>
                  </a:lnTo>
                  <a:lnTo>
                    <a:pt x="452" y="2597"/>
                  </a:lnTo>
                  <a:lnTo>
                    <a:pt x="363" y="2505"/>
                  </a:lnTo>
                  <a:lnTo>
                    <a:pt x="289" y="2399"/>
                  </a:lnTo>
                  <a:lnTo>
                    <a:pt x="168" y="2275"/>
                  </a:lnTo>
                  <a:lnTo>
                    <a:pt x="215" y="2212"/>
                  </a:lnTo>
                  <a:lnTo>
                    <a:pt x="229" y="2105"/>
                  </a:lnTo>
                  <a:lnTo>
                    <a:pt x="284" y="2004"/>
                  </a:lnTo>
                  <a:lnTo>
                    <a:pt x="348" y="1866"/>
                  </a:lnTo>
                  <a:lnTo>
                    <a:pt x="294" y="1752"/>
                  </a:lnTo>
                  <a:lnTo>
                    <a:pt x="157" y="1780"/>
                  </a:lnTo>
                  <a:lnTo>
                    <a:pt x="69" y="1787"/>
                  </a:lnTo>
                  <a:lnTo>
                    <a:pt x="0" y="1751"/>
                  </a:lnTo>
                  <a:lnTo>
                    <a:pt x="7" y="1666"/>
                  </a:lnTo>
                  <a:lnTo>
                    <a:pt x="68" y="1577"/>
                  </a:lnTo>
                  <a:lnTo>
                    <a:pt x="143" y="1531"/>
                  </a:lnTo>
                  <a:lnTo>
                    <a:pt x="215" y="1413"/>
                  </a:lnTo>
                  <a:lnTo>
                    <a:pt x="264" y="1281"/>
                  </a:lnTo>
                  <a:lnTo>
                    <a:pt x="303" y="1189"/>
                  </a:lnTo>
                  <a:lnTo>
                    <a:pt x="333" y="1106"/>
                  </a:lnTo>
                  <a:lnTo>
                    <a:pt x="392" y="996"/>
                  </a:lnTo>
                  <a:lnTo>
                    <a:pt x="472" y="897"/>
                  </a:lnTo>
                  <a:lnTo>
                    <a:pt x="662" y="788"/>
                  </a:lnTo>
                  <a:lnTo>
                    <a:pt x="798" y="627"/>
                  </a:lnTo>
                  <a:lnTo>
                    <a:pt x="872" y="661"/>
                  </a:lnTo>
                  <a:lnTo>
                    <a:pt x="909" y="730"/>
                  </a:lnTo>
                  <a:lnTo>
                    <a:pt x="971" y="815"/>
                  </a:lnTo>
                  <a:lnTo>
                    <a:pt x="1047" y="778"/>
                  </a:lnTo>
                  <a:lnTo>
                    <a:pt x="1092" y="724"/>
                  </a:lnTo>
                  <a:lnTo>
                    <a:pt x="1186" y="669"/>
                  </a:lnTo>
                  <a:lnTo>
                    <a:pt x="1235" y="615"/>
                  </a:lnTo>
                  <a:lnTo>
                    <a:pt x="1330" y="669"/>
                  </a:lnTo>
                  <a:lnTo>
                    <a:pt x="1376" y="719"/>
                  </a:lnTo>
                  <a:lnTo>
                    <a:pt x="1433" y="667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0" name="Freeform 84">
              <a:extLst>
                <a:ext uri="{FF2B5EF4-FFF2-40B4-BE49-F238E27FC236}">
                  <a16:creationId xmlns:a16="http://schemas.microsoft.com/office/drawing/2014/main" id="{C26CBF8B-C2D8-8322-C50D-0CBED9790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1786" y="4527550"/>
              <a:ext cx="611187" cy="827087"/>
            </a:xfrm>
            <a:custGeom>
              <a:avLst/>
              <a:gdLst>
                <a:gd name="T0" fmla="*/ 2391 w 2545"/>
                <a:gd name="T1" fmla="*/ 525 h 3004"/>
                <a:gd name="T2" fmla="*/ 2257 w 2545"/>
                <a:gd name="T3" fmla="*/ 455 h 3004"/>
                <a:gd name="T4" fmla="*/ 2089 w 2545"/>
                <a:gd name="T5" fmla="*/ 344 h 3004"/>
                <a:gd name="T6" fmla="*/ 1786 w 2545"/>
                <a:gd name="T7" fmla="*/ 116 h 3004"/>
                <a:gd name="T8" fmla="*/ 1588 w 2545"/>
                <a:gd name="T9" fmla="*/ 69 h 3004"/>
                <a:gd name="T10" fmla="*/ 1464 w 2545"/>
                <a:gd name="T11" fmla="*/ 21 h 3004"/>
                <a:gd name="T12" fmla="*/ 1489 w 2545"/>
                <a:gd name="T13" fmla="*/ 170 h 3004"/>
                <a:gd name="T14" fmla="*/ 1501 w 2545"/>
                <a:gd name="T15" fmla="*/ 300 h 3004"/>
                <a:gd name="T16" fmla="*/ 1431 w 2545"/>
                <a:gd name="T17" fmla="*/ 465 h 3004"/>
                <a:gd name="T18" fmla="*/ 1371 w 2545"/>
                <a:gd name="T19" fmla="*/ 581 h 3004"/>
                <a:gd name="T20" fmla="*/ 1261 w 2545"/>
                <a:gd name="T21" fmla="*/ 687 h 3004"/>
                <a:gd name="T22" fmla="*/ 1146 w 2545"/>
                <a:gd name="T23" fmla="*/ 861 h 3004"/>
                <a:gd name="T24" fmla="*/ 1173 w 2545"/>
                <a:gd name="T25" fmla="*/ 1040 h 3004"/>
                <a:gd name="T26" fmla="*/ 1146 w 2545"/>
                <a:gd name="T27" fmla="*/ 1149 h 3004"/>
                <a:gd name="T28" fmla="*/ 1021 w 2545"/>
                <a:gd name="T29" fmla="*/ 1286 h 3004"/>
                <a:gd name="T30" fmla="*/ 843 w 2545"/>
                <a:gd name="T31" fmla="*/ 1346 h 3004"/>
                <a:gd name="T32" fmla="*/ 688 w 2545"/>
                <a:gd name="T33" fmla="*/ 1143 h 3004"/>
                <a:gd name="T34" fmla="*/ 405 w 2545"/>
                <a:gd name="T35" fmla="*/ 1088 h 3004"/>
                <a:gd name="T36" fmla="*/ 292 w 2545"/>
                <a:gd name="T37" fmla="*/ 1262 h 3004"/>
                <a:gd name="T38" fmla="*/ 234 w 2545"/>
                <a:gd name="T39" fmla="*/ 1374 h 3004"/>
                <a:gd name="T40" fmla="*/ 177 w 2545"/>
                <a:gd name="T41" fmla="*/ 1433 h 3004"/>
                <a:gd name="T42" fmla="*/ 217 w 2545"/>
                <a:gd name="T43" fmla="*/ 1698 h 3004"/>
                <a:gd name="T44" fmla="*/ 180 w 2545"/>
                <a:gd name="T45" fmla="*/ 1830 h 3004"/>
                <a:gd name="T46" fmla="*/ 54 w 2545"/>
                <a:gd name="T47" fmla="*/ 1917 h 3004"/>
                <a:gd name="T48" fmla="*/ 0 w 2545"/>
                <a:gd name="T49" fmla="*/ 2004 h 3004"/>
                <a:gd name="T50" fmla="*/ 91 w 2545"/>
                <a:gd name="T51" fmla="*/ 2171 h 3004"/>
                <a:gd name="T52" fmla="*/ 138 w 2545"/>
                <a:gd name="T53" fmla="*/ 2309 h 3004"/>
                <a:gd name="T54" fmla="*/ 174 w 2545"/>
                <a:gd name="T55" fmla="*/ 2403 h 3004"/>
                <a:gd name="T56" fmla="*/ 233 w 2545"/>
                <a:gd name="T57" fmla="*/ 2596 h 3004"/>
                <a:gd name="T58" fmla="*/ 529 w 2545"/>
                <a:gd name="T59" fmla="*/ 2580 h 3004"/>
                <a:gd name="T60" fmla="*/ 793 w 2545"/>
                <a:gd name="T61" fmla="*/ 2484 h 3004"/>
                <a:gd name="T62" fmla="*/ 1057 w 2545"/>
                <a:gd name="T63" fmla="*/ 2468 h 3004"/>
                <a:gd name="T64" fmla="*/ 1153 w 2545"/>
                <a:gd name="T65" fmla="*/ 2684 h 3004"/>
                <a:gd name="T66" fmla="*/ 1145 w 2545"/>
                <a:gd name="T67" fmla="*/ 2904 h 3004"/>
                <a:gd name="T68" fmla="*/ 1321 w 2545"/>
                <a:gd name="T69" fmla="*/ 3004 h 3004"/>
                <a:gd name="T70" fmla="*/ 1487 w 2545"/>
                <a:gd name="T71" fmla="*/ 2961 h 3004"/>
                <a:gd name="T72" fmla="*/ 1715 w 2545"/>
                <a:gd name="T73" fmla="*/ 2847 h 3004"/>
                <a:gd name="T74" fmla="*/ 1817 w 2545"/>
                <a:gd name="T75" fmla="*/ 2556 h 3004"/>
                <a:gd name="T76" fmla="*/ 1665 w 2545"/>
                <a:gd name="T77" fmla="*/ 2284 h 3004"/>
                <a:gd name="T78" fmla="*/ 1617 w 2545"/>
                <a:gd name="T79" fmla="*/ 2028 h 3004"/>
                <a:gd name="T80" fmla="*/ 1772 w 2545"/>
                <a:gd name="T81" fmla="*/ 2163 h 3004"/>
                <a:gd name="T82" fmla="*/ 2001 w 2545"/>
                <a:gd name="T83" fmla="*/ 2049 h 3004"/>
                <a:gd name="T84" fmla="*/ 2172 w 2545"/>
                <a:gd name="T85" fmla="*/ 1935 h 3004"/>
                <a:gd name="T86" fmla="*/ 2377 w 2545"/>
                <a:gd name="T87" fmla="*/ 1828 h 3004"/>
                <a:gd name="T88" fmla="*/ 2430 w 2545"/>
                <a:gd name="T89" fmla="*/ 1655 h 3004"/>
                <a:gd name="T90" fmla="*/ 2425 w 2545"/>
                <a:gd name="T91" fmla="*/ 1461 h 3004"/>
                <a:gd name="T92" fmla="*/ 2427 w 2545"/>
                <a:gd name="T93" fmla="*/ 1211 h 3004"/>
                <a:gd name="T94" fmla="*/ 2434 w 2545"/>
                <a:gd name="T95" fmla="*/ 1032 h 3004"/>
                <a:gd name="T96" fmla="*/ 2487 w 2545"/>
                <a:gd name="T97" fmla="*/ 857 h 3004"/>
                <a:gd name="T98" fmla="*/ 2545 w 2545"/>
                <a:gd name="T99" fmla="*/ 684 h 3004"/>
                <a:gd name="T100" fmla="*/ 2487 w 2545"/>
                <a:gd name="T101" fmla="*/ 570 h 3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45" h="3004">
                  <a:moveTo>
                    <a:pt x="2487" y="570"/>
                  </a:moveTo>
                  <a:lnTo>
                    <a:pt x="2391" y="525"/>
                  </a:lnTo>
                  <a:lnTo>
                    <a:pt x="2317" y="456"/>
                  </a:lnTo>
                  <a:lnTo>
                    <a:pt x="2257" y="455"/>
                  </a:lnTo>
                  <a:lnTo>
                    <a:pt x="2200" y="399"/>
                  </a:lnTo>
                  <a:lnTo>
                    <a:pt x="2089" y="344"/>
                  </a:lnTo>
                  <a:lnTo>
                    <a:pt x="1996" y="233"/>
                  </a:lnTo>
                  <a:lnTo>
                    <a:pt x="1786" y="116"/>
                  </a:lnTo>
                  <a:lnTo>
                    <a:pt x="1693" y="161"/>
                  </a:lnTo>
                  <a:lnTo>
                    <a:pt x="1588" y="69"/>
                  </a:lnTo>
                  <a:lnTo>
                    <a:pt x="1516" y="0"/>
                  </a:lnTo>
                  <a:lnTo>
                    <a:pt x="1464" y="21"/>
                  </a:lnTo>
                  <a:lnTo>
                    <a:pt x="1452" y="63"/>
                  </a:lnTo>
                  <a:lnTo>
                    <a:pt x="1489" y="170"/>
                  </a:lnTo>
                  <a:lnTo>
                    <a:pt x="1488" y="231"/>
                  </a:lnTo>
                  <a:lnTo>
                    <a:pt x="1501" y="300"/>
                  </a:lnTo>
                  <a:lnTo>
                    <a:pt x="1489" y="402"/>
                  </a:lnTo>
                  <a:lnTo>
                    <a:pt x="1431" y="465"/>
                  </a:lnTo>
                  <a:lnTo>
                    <a:pt x="1399" y="525"/>
                  </a:lnTo>
                  <a:lnTo>
                    <a:pt x="1371" y="581"/>
                  </a:lnTo>
                  <a:lnTo>
                    <a:pt x="1305" y="635"/>
                  </a:lnTo>
                  <a:lnTo>
                    <a:pt x="1261" y="687"/>
                  </a:lnTo>
                  <a:lnTo>
                    <a:pt x="1260" y="750"/>
                  </a:lnTo>
                  <a:lnTo>
                    <a:pt x="1146" y="861"/>
                  </a:lnTo>
                  <a:lnTo>
                    <a:pt x="1146" y="977"/>
                  </a:lnTo>
                  <a:lnTo>
                    <a:pt x="1173" y="1040"/>
                  </a:lnTo>
                  <a:lnTo>
                    <a:pt x="1183" y="1112"/>
                  </a:lnTo>
                  <a:lnTo>
                    <a:pt x="1146" y="1149"/>
                  </a:lnTo>
                  <a:lnTo>
                    <a:pt x="1095" y="1224"/>
                  </a:lnTo>
                  <a:lnTo>
                    <a:pt x="1021" y="1286"/>
                  </a:lnTo>
                  <a:lnTo>
                    <a:pt x="934" y="1344"/>
                  </a:lnTo>
                  <a:lnTo>
                    <a:pt x="843" y="1346"/>
                  </a:lnTo>
                  <a:lnTo>
                    <a:pt x="777" y="1206"/>
                  </a:lnTo>
                  <a:lnTo>
                    <a:pt x="688" y="1143"/>
                  </a:lnTo>
                  <a:lnTo>
                    <a:pt x="576" y="1088"/>
                  </a:lnTo>
                  <a:lnTo>
                    <a:pt x="405" y="1088"/>
                  </a:lnTo>
                  <a:lnTo>
                    <a:pt x="289" y="1206"/>
                  </a:lnTo>
                  <a:lnTo>
                    <a:pt x="292" y="1262"/>
                  </a:lnTo>
                  <a:lnTo>
                    <a:pt x="271" y="1323"/>
                  </a:lnTo>
                  <a:lnTo>
                    <a:pt x="234" y="1374"/>
                  </a:lnTo>
                  <a:lnTo>
                    <a:pt x="217" y="1410"/>
                  </a:lnTo>
                  <a:lnTo>
                    <a:pt x="177" y="1433"/>
                  </a:lnTo>
                  <a:lnTo>
                    <a:pt x="115" y="1610"/>
                  </a:lnTo>
                  <a:lnTo>
                    <a:pt x="217" y="1698"/>
                  </a:lnTo>
                  <a:lnTo>
                    <a:pt x="235" y="1830"/>
                  </a:lnTo>
                  <a:lnTo>
                    <a:pt x="180" y="1830"/>
                  </a:lnTo>
                  <a:lnTo>
                    <a:pt x="121" y="1871"/>
                  </a:lnTo>
                  <a:lnTo>
                    <a:pt x="54" y="1917"/>
                  </a:lnTo>
                  <a:lnTo>
                    <a:pt x="19" y="1953"/>
                  </a:lnTo>
                  <a:lnTo>
                    <a:pt x="0" y="2004"/>
                  </a:lnTo>
                  <a:lnTo>
                    <a:pt x="36" y="2115"/>
                  </a:lnTo>
                  <a:lnTo>
                    <a:pt x="91" y="2171"/>
                  </a:lnTo>
                  <a:lnTo>
                    <a:pt x="102" y="2240"/>
                  </a:lnTo>
                  <a:lnTo>
                    <a:pt x="138" y="2309"/>
                  </a:lnTo>
                  <a:lnTo>
                    <a:pt x="177" y="2345"/>
                  </a:lnTo>
                  <a:lnTo>
                    <a:pt x="174" y="2403"/>
                  </a:lnTo>
                  <a:lnTo>
                    <a:pt x="120" y="2456"/>
                  </a:lnTo>
                  <a:lnTo>
                    <a:pt x="233" y="2596"/>
                  </a:lnTo>
                  <a:lnTo>
                    <a:pt x="403" y="2619"/>
                  </a:lnTo>
                  <a:lnTo>
                    <a:pt x="529" y="2580"/>
                  </a:lnTo>
                  <a:lnTo>
                    <a:pt x="705" y="2500"/>
                  </a:lnTo>
                  <a:lnTo>
                    <a:pt x="793" y="2484"/>
                  </a:lnTo>
                  <a:lnTo>
                    <a:pt x="917" y="2448"/>
                  </a:lnTo>
                  <a:lnTo>
                    <a:pt x="1057" y="2468"/>
                  </a:lnTo>
                  <a:lnTo>
                    <a:pt x="1129" y="2556"/>
                  </a:lnTo>
                  <a:lnTo>
                    <a:pt x="1153" y="2684"/>
                  </a:lnTo>
                  <a:lnTo>
                    <a:pt x="1121" y="2804"/>
                  </a:lnTo>
                  <a:lnTo>
                    <a:pt x="1145" y="2904"/>
                  </a:lnTo>
                  <a:lnTo>
                    <a:pt x="1225" y="2996"/>
                  </a:lnTo>
                  <a:lnTo>
                    <a:pt x="1321" y="3004"/>
                  </a:lnTo>
                  <a:lnTo>
                    <a:pt x="1373" y="2961"/>
                  </a:lnTo>
                  <a:lnTo>
                    <a:pt x="1487" y="2961"/>
                  </a:lnTo>
                  <a:lnTo>
                    <a:pt x="1609" y="2892"/>
                  </a:lnTo>
                  <a:lnTo>
                    <a:pt x="1715" y="2847"/>
                  </a:lnTo>
                  <a:lnTo>
                    <a:pt x="1777" y="2740"/>
                  </a:lnTo>
                  <a:lnTo>
                    <a:pt x="1817" y="2556"/>
                  </a:lnTo>
                  <a:lnTo>
                    <a:pt x="1793" y="2436"/>
                  </a:lnTo>
                  <a:lnTo>
                    <a:pt x="1665" y="2284"/>
                  </a:lnTo>
                  <a:lnTo>
                    <a:pt x="1544" y="2106"/>
                  </a:lnTo>
                  <a:lnTo>
                    <a:pt x="1617" y="2028"/>
                  </a:lnTo>
                  <a:lnTo>
                    <a:pt x="1715" y="2106"/>
                  </a:lnTo>
                  <a:lnTo>
                    <a:pt x="1772" y="2163"/>
                  </a:lnTo>
                  <a:lnTo>
                    <a:pt x="1857" y="2148"/>
                  </a:lnTo>
                  <a:lnTo>
                    <a:pt x="2001" y="2049"/>
                  </a:lnTo>
                  <a:lnTo>
                    <a:pt x="2058" y="1992"/>
                  </a:lnTo>
                  <a:lnTo>
                    <a:pt x="2172" y="1935"/>
                  </a:lnTo>
                  <a:lnTo>
                    <a:pt x="2249" y="1876"/>
                  </a:lnTo>
                  <a:lnTo>
                    <a:pt x="2377" y="1828"/>
                  </a:lnTo>
                  <a:lnTo>
                    <a:pt x="2463" y="1734"/>
                  </a:lnTo>
                  <a:lnTo>
                    <a:pt x="2430" y="1655"/>
                  </a:lnTo>
                  <a:lnTo>
                    <a:pt x="2433" y="1542"/>
                  </a:lnTo>
                  <a:lnTo>
                    <a:pt x="2425" y="1461"/>
                  </a:lnTo>
                  <a:lnTo>
                    <a:pt x="2430" y="1343"/>
                  </a:lnTo>
                  <a:lnTo>
                    <a:pt x="2427" y="1211"/>
                  </a:lnTo>
                  <a:lnTo>
                    <a:pt x="2445" y="1124"/>
                  </a:lnTo>
                  <a:lnTo>
                    <a:pt x="2434" y="1032"/>
                  </a:lnTo>
                  <a:lnTo>
                    <a:pt x="2442" y="978"/>
                  </a:lnTo>
                  <a:lnTo>
                    <a:pt x="2487" y="857"/>
                  </a:lnTo>
                  <a:lnTo>
                    <a:pt x="2487" y="741"/>
                  </a:lnTo>
                  <a:lnTo>
                    <a:pt x="2545" y="684"/>
                  </a:lnTo>
                  <a:lnTo>
                    <a:pt x="2487" y="629"/>
                  </a:lnTo>
                  <a:lnTo>
                    <a:pt x="2487" y="570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1" name="Freeform 85">
              <a:extLst>
                <a:ext uri="{FF2B5EF4-FFF2-40B4-BE49-F238E27FC236}">
                  <a16:creationId xmlns:a16="http://schemas.microsoft.com/office/drawing/2014/main" id="{F206DC31-8DA9-25A3-243E-37DDD9AC9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086" y="4860925"/>
              <a:ext cx="596900" cy="185737"/>
            </a:xfrm>
            <a:custGeom>
              <a:avLst/>
              <a:gdLst>
                <a:gd name="T0" fmla="*/ 2044 w 2044"/>
                <a:gd name="T1" fmla="*/ 651 h 651"/>
                <a:gd name="T2" fmla="*/ 2041 w 2044"/>
                <a:gd name="T3" fmla="*/ 556 h 651"/>
                <a:gd name="T4" fmla="*/ 1981 w 2044"/>
                <a:gd name="T5" fmla="*/ 465 h 651"/>
                <a:gd name="T6" fmla="*/ 1962 w 2044"/>
                <a:gd name="T7" fmla="*/ 330 h 651"/>
                <a:gd name="T8" fmla="*/ 1960 w 2044"/>
                <a:gd name="T9" fmla="*/ 234 h 651"/>
                <a:gd name="T10" fmla="*/ 1901 w 2044"/>
                <a:gd name="T11" fmla="*/ 83 h 651"/>
                <a:gd name="T12" fmla="*/ 1827 w 2044"/>
                <a:gd name="T13" fmla="*/ 94 h 651"/>
                <a:gd name="T14" fmla="*/ 1728 w 2044"/>
                <a:gd name="T15" fmla="*/ 54 h 651"/>
                <a:gd name="T16" fmla="*/ 1604 w 2044"/>
                <a:gd name="T17" fmla="*/ 71 h 651"/>
                <a:gd name="T18" fmla="*/ 1420 w 2044"/>
                <a:gd name="T19" fmla="*/ 45 h 651"/>
                <a:gd name="T20" fmla="*/ 1352 w 2044"/>
                <a:gd name="T21" fmla="*/ 20 h 651"/>
                <a:gd name="T22" fmla="*/ 1270 w 2044"/>
                <a:gd name="T23" fmla="*/ 14 h 651"/>
                <a:gd name="T24" fmla="*/ 1168 w 2044"/>
                <a:gd name="T25" fmla="*/ 0 h 651"/>
                <a:gd name="T26" fmla="*/ 1072 w 2044"/>
                <a:gd name="T27" fmla="*/ 9 h 651"/>
                <a:gd name="T28" fmla="*/ 976 w 2044"/>
                <a:gd name="T29" fmla="*/ 0 h 651"/>
                <a:gd name="T30" fmla="*/ 882 w 2044"/>
                <a:gd name="T31" fmla="*/ 0 h 651"/>
                <a:gd name="T32" fmla="*/ 808 w 2044"/>
                <a:gd name="T33" fmla="*/ 45 h 651"/>
                <a:gd name="T34" fmla="*/ 729 w 2044"/>
                <a:gd name="T35" fmla="*/ 94 h 651"/>
                <a:gd name="T36" fmla="*/ 648 w 2044"/>
                <a:gd name="T37" fmla="*/ 108 h 651"/>
                <a:gd name="T38" fmla="*/ 553 w 2044"/>
                <a:gd name="T39" fmla="*/ 163 h 651"/>
                <a:gd name="T40" fmla="*/ 361 w 2044"/>
                <a:gd name="T41" fmla="*/ 336 h 651"/>
                <a:gd name="T42" fmla="*/ 274 w 2044"/>
                <a:gd name="T43" fmla="*/ 327 h 651"/>
                <a:gd name="T44" fmla="*/ 212 w 2044"/>
                <a:gd name="T45" fmla="*/ 313 h 651"/>
                <a:gd name="T46" fmla="*/ 158 w 2044"/>
                <a:gd name="T47" fmla="*/ 333 h 651"/>
                <a:gd name="T48" fmla="*/ 94 w 2044"/>
                <a:gd name="T49" fmla="*/ 372 h 651"/>
                <a:gd name="T50" fmla="*/ 0 w 2044"/>
                <a:gd name="T51" fmla="*/ 499 h 651"/>
                <a:gd name="T52" fmla="*/ 119 w 2044"/>
                <a:gd name="T53" fmla="*/ 484 h 651"/>
                <a:gd name="T54" fmla="*/ 262 w 2044"/>
                <a:gd name="T55" fmla="*/ 518 h 651"/>
                <a:gd name="T56" fmla="*/ 441 w 2044"/>
                <a:gd name="T57" fmla="*/ 510 h 651"/>
                <a:gd name="T58" fmla="*/ 555 w 2044"/>
                <a:gd name="T59" fmla="*/ 501 h 651"/>
                <a:gd name="T60" fmla="*/ 661 w 2044"/>
                <a:gd name="T61" fmla="*/ 448 h 651"/>
                <a:gd name="T62" fmla="*/ 781 w 2044"/>
                <a:gd name="T63" fmla="*/ 457 h 651"/>
                <a:gd name="T64" fmla="*/ 911 w 2044"/>
                <a:gd name="T65" fmla="*/ 401 h 651"/>
                <a:gd name="T66" fmla="*/ 1060 w 2044"/>
                <a:gd name="T67" fmla="*/ 431 h 651"/>
                <a:gd name="T68" fmla="*/ 1193 w 2044"/>
                <a:gd name="T69" fmla="*/ 455 h 651"/>
                <a:gd name="T70" fmla="*/ 1301 w 2044"/>
                <a:gd name="T71" fmla="*/ 448 h 651"/>
                <a:gd name="T72" fmla="*/ 1381 w 2044"/>
                <a:gd name="T73" fmla="*/ 510 h 651"/>
                <a:gd name="T74" fmla="*/ 1519 w 2044"/>
                <a:gd name="T75" fmla="*/ 510 h 651"/>
                <a:gd name="T76" fmla="*/ 1663 w 2044"/>
                <a:gd name="T77" fmla="*/ 510 h 651"/>
                <a:gd name="T78" fmla="*/ 1866 w 2044"/>
                <a:gd name="T79" fmla="*/ 536 h 651"/>
                <a:gd name="T80" fmla="*/ 1911 w 2044"/>
                <a:gd name="T81" fmla="*/ 589 h 651"/>
                <a:gd name="T82" fmla="*/ 2044 w 2044"/>
                <a:gd name="T83" fmla="*/ 651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44" h="651">
                  <a:moveTo>
                    <a:pt x="2044" y="651"/>
                  </a:moveTo>
                  <a:lnTo>
                    <a:pt x="2041" y="556"/>
                  </a:lnTo>
                  <a:lnTo>
                    <a:pt x="1981" y="465"/>
                  </a:lnTo>
                  <a:lnTo>
                    <a:pt x="1962" y="330"/>
                  </a:lnTo>
                  <a:lnTo>
                    <a:pt x="1960" y="234"/>
                  </a:lnTo>
                  <a:lnTo>
                    <a:pt x="1901" y="83"/>
                  </a:lnTo>
                  <a:lnTo>
                    <a:pt x="1827" y="94"/>
                  </a:lnTo>
                  <a:lnTo>
                    <a:pt x="1728" y="54"/>
                  </a:lnTo>
                  <a:lnTo>
                    <a:pt x="1604" y="71"/>
                  </a:lnTo>
                  <a:lnTo>
                    <a:pt x="1420" y="45"/>
                  </a:lnTo>
                  <a:lnTo>
                    <a:pt x="1352" y="20"/>
                  </a:lnTo>
                  <a:lnTo>
                    <a:pt x="1270" y="14"/>
                  </a:lnTo>
                  <a:lnTo>
                    <a:pt x="1168" y="0"/>
                  </a:lnTo>
                  <a:lnTo>
                    <a:pt x="1072" y="9"/>
                  </a:lnTo>
                  <a:lnTo>
                    <a:pt x="976" y="0"/>
                  </a:lnTo>
                  <a:lnTo>
                    <a:pt x="882" y="0"/>
                  </a:lnTo>
                  <a:lnTo>
                    <a:pt x="808" y="45"/>
                  </a:lnTo>
                  <a:lnTo>
                    <a:pt x="729" y="94"/>
                  </a:lnTo>
                  <a:lnTo>
                    <a:pt x="648" y="108"/>
                  </a:lnTo>
                  <a:lnTo>
                    <a:pt x="553" y="163"/>
                  </a:lnTo>
                  <a:lnTo>
                    <a:pt x="361" y="336"/>
                  </a:lnTo>
                  <a:lnTo>
                    <a:pt x="274" y="327"/>
                  </a:lnTo>
                  <a:lnTo>
                    <a:pt x="212" y="313"/>
                  </a:lnTo>
                  <a:lnTo>
                    <a:pt x="158" y="333"/>
                  </a:lnTo>
                  <a:lnTo>
                    <a:pt x="94" y="372"/>
                  </a:lnTo>
                  <a:lnTo>
                    <a:pt x="0" y="499"/>
                  </a:lnTo>
                  <a:lnTo>
                    <a:pt x="119" y="484"/>
                  </a:lnTo>
                  <a:lnTo>
                    <a:pt x="262" y="518"/>
                  </a:lnTo>
                  <a:lnTo>
                    <a:pt x="441" y="510"/>
                  </a:lnTo>
                  <a:lnTo>
                    <a:pt x="555" y="501"/>
                  </a:lnTo>
                  <a:lnTo>
                    <a:pt x="661" y="448"/>
                  </a:lnTo>
                  <a:lnTo>
                    <a:pt x="781" y="457"/>
                  </a:lnTo>
                  <a:lnTo>
                    <a:pt x="911" y="401"/>
                  </a:lnTo>
                  <a:lnTo>
                    <a:pt x="1060" y="431"/>
                  </a:lnTo>
                  <a:lnTo>
                    <a:pt x="1193" y="455"/>
                  </a:lnTo>
                  <a:lnTo>
                    <a:pt x="1301" y="448"/>
                  </a:lnTo>
                  <a:lnTo>
                    <a:pt x="1381" y="510"/>
                  </a:lnTo>
                  <a:lnTo>
                    <a:pt x="1519" y="510"/>
                  </a:lnTo>
                  <a:lnTo>
                    <a:pt x="1663" y="510"/>
                  </a:lnTo>
                  <a:lnTo>
                    <a:pt x="1866" y="536"/>
                  </a:lnTo>
                  <a:lnTo>
                    <a:pt x="1911" y="589"/>
                  </a:lnTo>
                  <a:lnTo>
                    <a:pt x="2044" y="651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宋体" panose="02010600030101010101" pitchFamily="2" charset="-122"/>
              </a:endParaRPr>
            </a:p>
          </p:txBody>
        </p:sp>
        <p:sp>
          <p:nvSpPr>
            <p:cNvPr id="92" name="Freeform 86">
              <a:extLst>
                <a:ext uri="{FF2B5EF4-FFF2-40B4-BE49-F238E27FC236}">
                  <a16:creationId xmlns:a16="http://schemas.microsoft.com/office/drawing/2014/main" id="{EB9D4C64-8DC7-5B8D-133A-D47134ABE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273" y="5030788"/>
              <a:ext cx="668337" cy="658812"/>
            </a:xfrm>
            <a:custGeom>
              <a:avLst/>
              <a:gdLst>
                <a:gd name="T0" fmla="*/ 1341 w 2105"/>
                <a:gd name="T1" fmla="*/ 174 h 2075"/>
                <a:gd name="T2" fmla="*/ 1377 w 2105"/>
                <a:gd name="T3" fmla="*/ 397 h 2075"/>
                <a:gd name="T4" fmla="*/ 1490 w 2105"/>
                <a:gd name="T5" fmla="*/ 633 h 2075"/>
                <a:gd name="T6" fmla="*/ 1416 w 2105"/>
                <a:gd name="T7" fmla="*/ 884 h 2075"/>
                <a:gd name="T8" fmla="*/ 1241 w 2105"/>
                <a:gd name="T9" fmla="*/ 982 h 2075"/>
                <a:gd name="T10" fmla="*/ 1114 w 2105"/>
                <a:gd name="T11" fmla="*/ 1018 h 2075"/>
                <a:gd name="T12" fmla="*/ 983 w 2105"/>
                <a:gd name="T13" fmla="*/ 935 h 2075"/>
                <a:gd name="T14" fmla="*/ 989 w 2105"/>
                <a:gd name="T15" fmla="*/ 744 h 2075"/>
                <a:gd name="T16" fmla="*/ 915 w 2105"/>
                <a:gd name="T17" fmla="*/ 555 h 2075"/>
                <a:gd name="T18" fmla="*/ 710 w 2105"/>
                <a:gd name="T19" fmla="*/ 570 h 2075"/>
                <a:gd name="T20" fmla="*/ 516 w 2105"/>
                <a:gd name="T21" fmla="*/ 651 h 2075"/>
                <a:gd name="T22" fmla="*/ 293 w 2105"/>
                <a:gd name="T23" fmla="*/ 667 h 2075"/>
                <a:gd name="T24" fmla="*/ 165 w 2105"/>
                <a:gd name="T25" fmla="*/ 499 h 2075"/>
                <a:gd name="T26" fmla="*/ 75 w 2105"/>
                <a:gd name="T27" fmla="*/ 498 h 2075"/>
                <a:gd name="T28" fmla="*/ 37 w 2105"/>
                <a:gd name="T29" fmla="*/ 598 h 2075"/>
                <a:gd name="T30" fmla="*/ 5 w 2105"/>
                <a:gd name="T31" fmla="*/ 784 h 2075"/>
                <a:gd name="T32" fmla="*/ 49 w 2105"/>
                <a:gd name="T33" fmla="*/ 965 h 2075"/>
                <a:gd name="T34" fmla="*/ 146 w 2105"/>
                <a:gd name="T35" fmla="*/ 1171 h 2075"/>
                <a:gd name="T36" fmla="*/ 267 w 2105"/>
                <a:gd name="T37" fmla="*/ 1422 h 2075"/>
                <a:gd name="T38" fmla="*/ 339 w 2105"/>
                <a:gd name="T39" fmla="*/ 1624 h 2075"/>
                <a:gd name="T40" fmla="*/ 473 w 2105"/>
                <a:gd name="T41" fmla="*/ 1881 h 2075"/>
                <a:gd name="T42" fmla="*/ 619 w 2105"/>
                <a:gd name="T43" fmla="*/ 1943 h 2075"/>
                <a:gd name="T44" fmla="*/ 795 w 2105"/>
                <a:gd name="T45" fmla="*/ 2075 h 2075"/>
                <a:gd name="T46" fmla="*/ 964 w 2105"/>
                <a:gd name="T47" fmla="*/ 1943 h 2075"/>
                <a:gd name="T48" fmla="*/ 1141 w 2105"/>
                <a:gd name="T49" fmla="*/ 1815 h 2075"/>
                <a:gd name="T50" fmla="*/ 1357 w 2105"/>
                <a:gd name="T51" fmla="*/ 1864 h 2075"/>
                <a:gd name="T52" fmla="*/ 1535 w 2105"/>
                <a:gd name="T53" fmla="*/ 1673 h 2075"/>
                <a:gd name="T54" fmla="*/ 1729 w 2105"/>
                <a:gd name="T55" fmla="*/ 1603 h 2075"/>
                <a:gd name="T56" fmla="*/ 1876 w 2105"/>
                <a:gd name="T57" fmla="*/ 1320 h 2075"/>
                <a:gd name="T58" fmla="*/ 1972 w 2105"/>
                <a:gd name="T59" fmla="*/ 999 h 2075"/>
                <a:gd name="T60" fmla="*/ 1962 w 2105"/>
                <a:gd name="T61" fmla="*/ 676 h 2075"/>
                <a:gd name="T62" fmla="*/ 2105 w 2105"/>
                <a:gd name="T63" fmla="*/ 354 h 2075"/>
                <a:gd name="T64" fmla="*/ 1916 w 2105"/>
                <a:gd name="T65" fmla="*/ 0 h 2075"/>
                <a:gd name="T66" fmla="*/ 1764 w 2105"/>
                <a:gd name="T67" fmla="*/ 92 h 2075"/>
                <a:gd name="T68" fmla="*/ 1632 w 2105"/>
                <a:gd name="T69" fmla="*/ 193 h 2075"/>
                <a:gd name="T70" fmla="*/ 1457 w 2105"/>
                <a:gd name="T71" fmla="*/ 289 h 2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05" h="2075">
                  <a:moveTo>
                    <a:pt x="1421" y="246"/>
                  </a:moveTo>
                  <a:lnTo>
                    <a:pt x="1341" y="174"/>
                  </a:lnTo>
                  <a:lnTo>
                    <a:pt x="1284" y="242"/>
                  </a:lnTo>
                  <a:lnTo>
                    <a:pt x="1377" y="397"/>
                  </a:lnTo>
                  <a:lnTo>
                    <a:pt x="1472" y="523"/>
                  </a:lnTo>
                  <a:lnTo>
                    <a:pt x="1490" y="633"/>
                  </a:lnTo>
                  <a:lnTo>
                    <a:pt x="1462" y="791"/>
                  </a:lnTo>
                  <a:lnTo>
                    <a:pt x="1416" y="884"/>
                  </a:lnTo>
                  <a:lnTo>
                    <a:pt x="1327" y="927"/>
                  </a:lnTo>
                  <a:lnTo>
                    <a:pt x="1241" y="982"/>
                  </a:lnTo>
                  <a:lnTo>
                    <a:pt x="1155" y="983"/>
                  </a:lnTo>
                  <a:lnTo>
                    <a:pt x="1114" y="1018"/>
                  </a:lnTo>
                  <a:lnTo>
                    <a:pt x="1043" y="1012"/>
                  </a:lnTo>
                  <a:lnTo>
                    <a:pt x="983" y="935"/>
                  </a:lnTo>
                  <a:lnTo>
                    <a:pt x="965" y="846"/>
                  </a:lnTo>
                  <a:lnTo>
                    <a:pt x="989" y="744"/>
                  </a:lnTo>
                  <a:lnTo>
                    <a:pt x="971" y="634"/>
                  </a:lnTo>
                  <a:lnTo>
                    <a:pt x="915" y="555"/>
                  </a:lnTo>
                  <a:lnTo>
                    <a:pt x="806" y="537"/>
                  </a:lnTo>
                  <a:lnTo>
                    <a:pt x="710" y="570"/>
                  </a:lnTo>
                  <a:lnTo>
                    <a:pt x="650" y="581"/>
                  </a:lnTo>
                  <a:lnTo>
                    <a:pt x="516" y="651"/>
                  </a:lnTo>
                  <a:lnTo>
                    <a:pt x="420" y="685"/>
                  </a:lnTo>
                  <a:lnTo>
                    <a:pt x="293" y="667"/>
                  </a:lnTo>
                  <a:lnTo>
                    <a:pt x="205" y="544"/>
                  </a:lnTo>
                  <a:lnTo>
                    <a:pt x="165" y="499"/>
                  </a:lnTo>
                  <a:lnTo>
                    <a:pt x="130" y="478"/>
                  </a:lnTo>
                  <a:lnTo>
                    <a:pt x="75" y="498"/>
                  </a:lnTo>
                  <a:lnTo>
                    <a:pt x="79" y="550"/>
                  </a:lnTo>
                  <a:lnTo>
                    <a:pt x="37" y="598"/>
                  </a:lnTo>
                  <a:lnTo>
                    <a:pt x="28" y="699"/>
                  </a:lnTo>
                  <a:lnTo>
                    <a:pt x="5" y="784"/>
                  </a:lnTo>
                  <a:lnTo>
                    <a:pt x="0" y="874"/>
                  </a:lnTo>
                  <a:lnTo>
                    <a:pt x="49" y="965"/>
                  </a:lnTo>
                  <a:lnTo>
                    <a:pt x="103" y="1023"/>
                  </a:lnTo>
                  <a:lnTo>
                    <a:pt x="146" y="1171"/>
                  </a:lnTo>
                  <a:lnTo>
                    <a:pt x="213" y="1284"/>
                  </a:lnTo>
                  <a:lnTo>
                    <a:pt x="267" y="1422"/>
                  </a:lnTo>
                  <a:lnTo>
                    <a:pt x="276" y="1517"/>
                  </a:lnTo>
                  <a:lnTo>
                    <a:pt x="339" y="1624"/>
                  </a:lnTo>
                  <a:lnTo>
                    <a:pt x="376" y="1728"/>
                  </a:lnTo>
                  <a:lnTo>
                    <a:pt x="473" y="1881"/>
                  </a:lnTo>
                  <a:lnTo>
                    <a:pt x="522" y="1929"/>
                  </a:lnTo>
                  <a:lnTo>
                    <a:pt x="619" y="1943"/>
                  </a:lnTo>
                  <a:lnTo>
                    <a:pt x="709" y="2033"/>
                  </a:lnTo>
                  <a:lnTo>
                    <a:pt x="795" y="2075"/>
                  </a:lnTo>
                  <a:lnTo>
                    <a:pt x="891" y="2012"/>
                  </a:lnTo>
                  <a:lnTo>
                    <a:pt x="964" y="1943"/>
                  </a:lnTo>
                  <a:lnTo>
                    <a:pt x="1054" y="1815"/>
                  </a:lnTo>
                  <a:lnTo>
                    <a:pt x="1141" y="1815"/>
                  </a:lnTo>
                  <a:lnTo>
                    <a:pt x="1256" y="1839"/>
                  </a:lnTo>
                  <a:lnTo>
                    <a:pt x="1357" y="1864"/>
                  </a:lnTo>
                  <a:lnTo>
                    <a:pt x="1455" y="1741"/>
                  </a:lnTo>
                  <a:lnTo>
                    <a:pt x="1535" y="1673"/>
                  </a:lnTo>
                  <a:lnTo>
                    <a:pt x="1674" y="1728"/>
                  </a:lnTo>
                  <a:lnTo>
                    <a:pt x="1729" y="1603"/>
                  </a:lnTo>
                  <a:lnTo>
                    <a:pt x="1814" y="1464"/>
                  </a:lnTo>
                  <a:lnTo>
                    <a:pt x="1876" y="1320"/>
                  </a:lnTo>
                  <a:lnTo>
                    <a:pt x="1929" y="1214"/>
                  </a:lnTo>
                  <a:lnTo>
                    <a:pt x="1972" y="999"/>
                  </a:lnTo>
                  <a:lnTo>
                    <a:pt x="1923" y="832"/>
                  </a:lnTo>
                  <a:lnTo>
                    <a:pt x="1962" y="676"/>
                  </a:lnTo>
                  <a:lnTo>
                    <a:pt x="2092" y="528"/>
                  </a:lnTo>
                  <a:lnTo>
                    <a:pt x="2105" y="354"/>
                  </a:lnTo>
                  <a:lnTo>
                    <a:pt x="2081" y="193"/>
                  </a:lnTo>
                  <a:lnTo>
                    <a:pt x="1916" y="0"/>
                  </a:lnTo>
                  <a:lnTo>
                    <a:pt x="1819" y="42"/>
                  </a:lnTo>
                  <a:lnTo>
                    <a:pt x="1764" y="92"/>
                  </a:lnTo>
                  <a:lnTo>
                    <a:pt x="1674" y="143"/>
                  </a:lnTo>
                  <a:lnTo>
                    <a:pt x="1632" y="193"/>
                  </a:lnTo>
                  <a:lnTo>
                    <a:pt x="1523" y="276"/>
                  </a:lnTo>
                  <a:lnTo>
                    <a:pt x="1457" y="289"/>
                  </a:lnTo>
                  <a:lnTo>
                    <a:pt x="1421" y="246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3" name="Freeform 87">
              <a:extLst>
                <a:ext uri="{FF2B5EF4-FFF2-40B4-BE49-F238E27FC236}">
                  <a16:creationId xmlns:a16="http://schemas.microsoft.com/office/drawing/2014/main" id="{673A1E6C-909A-4BEE-D2DD-D2982DC40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0373" y="5561013"/>
              <a:ext cx="407987" cy="458787"/>
            </a:xfrm>
            <a:custGeom>
              <a:avLst/>
              <a:gdLst>
                <a:gd name="T0" fmla="*/ 0 w 1699"/>
                <a:gd name="T1" fmla="*/ 297 h 1664"/>
                <a:gd name="T2" fmla="*/ 129 w 1699"/>
                <a:gd name="T3" fmla="*/ 311 h 1664"/>
                <a:gd name="T4" fmla="*/ 247 w 1699"/>
                <a:gd name="T5" fmla="*/ 413 h 1664"/>
                <a:gd name="T6" fmla="*/ 366 w 1699"/>
                <a:gd name="T7" fmla="*/ 464 h 1664"/>
                <a:gd name="T8" fmla="*/ 487 w 1699"/>
                <a:gd name="T9" fmla="*/ 396 h 1664"/>
                <a:gd name="T10" fmla="*/ 589 w 1699"/>
                <a:gd name="T11" fmla="*/ 312 h 1664"/>
                <a:gd name="T12" fmla="*/ 703 w 1699"/>
                <a:gd name="T13" fmla="*/ 164 h 1664"/>
                <a:gd name="T14" fmla="*/ 828 w 1699"/>
                <a:gd name="T15" fmla="*/ 164 h 1664"/>
                <a:gd name="T16" fmla="*/ 1104 w 1699"/>
                <a:gd name="T17" fmla="*/ 221 h 1664"/>
                <a:gd name="T18" fmla="*/ 1237 w 1699"/>
                <a:gd name="T19" fmla="*/ 80 h 1664"/>
                <a:gd name="T20" fmla="*/ 1339 w 1699"/>
                <a:gd name="T21" fmla="*/ 0 h 1664"/>
                <a:gd name="T22" fmla="*/ 1528 w 1699"/>
                <a:gd name="T23" fmla="*/ 65 h 1664"/>
                <a:gd name="T24" fmla="*/ 1623 w 1699"/>
                <a:gd name="T25" fmla="*/ 96 h 1664"/>
                <a:gd name="T26" fmla="*/ 1623 w 1699"/>
                <a:gd name="T27" fmla="*/ 153 h 1664"/>
                <a:gd name="T28" fmla="*/ 1603 w 1699"/>
                <a:gd name="T29" fmla="*/ 240 h 1664"/>
                <a:gd name="T30" fmla="*/ 1566 w 1699"/>
                <a:gd name="T31" fmla="*/ 324 h 1664"/>
                <a:gd name="T32" fmla="*/ 1509 w 1699"/>
                <a:gd name="T33" fmla="*/ 381 h 1664"/>
                <a:gd name="T34" fmla="*/ 1509 w 1699"/>
                <a:gd name="T35" fmla="*/ 381 h 1664"/>
                <a:gd name="T36" fmla="*/ 1452 w 1699"/>
                <a:gd name="T37" fmla="*/ 495 h 1664"/>
                <a:gd name="T38" fmla="*/ 1475 w 1699"/>
                <a:gd name="T39" fmla="*/ 576 h 1664"/>
                <a:gd name="T40" fmla="*/ 1509 w 1699"/>
                <a:gd name="T41" fmla="*/ 666 h 1664"/>
                <a:gd name="T42" fmla="*/ 1566 w 1699"/>
                <a:gd name="T43" fmla="*/ 724 h 1664"/>
                <a:gd name="T44" fmla="*/ 1603 w 1699"/>
                <a:gd name="T45" fmla="*/ 824 h 1664"/>
                <a:gd name="T46" fmla="*/ 1623 w 1699"/>
                <a:gd name="T47" fmla="*/ 895 h 1664"/>
                <a:gd name="T48" fmla="*/ 1659 w 1699"/>
                <a:gd name="T49" fmla="*/ 968 h 1664"/>
                <a:gd name="T50" fmla="*/ 1680 w 1699"/>
                <a:gd name="T51" fmla="*/ 1066 h 1664"/>
                <a:gd name="T52" fmla="*/ 1699 w 1699"/>
                <a:gd name="T53" fmla="*/ 1176 h 1664"/>
                <a:gd name="T54" fmla="*/ 1680 w 1699"/>
                <a:gd name="T55" fmla="*/ 1294 h 1664"/>
                <a:gd name="T56" fmla="*/ 1635 w 1699"/>
                <a:gd name="T57" fmla="*/ 1448 h 1664"/>
                <a:gd name="T58" fmla="*/ 1509 w 1699"/>
                <a:gd name="T59" fmla="*/ 1522 h 1664"/>
                <a:gd name="T60" fmla="*/ 1299 w 1699"/>
                <a:gd name="T61" fmla="*/ 1600 h 1664"/>
                <a:gd name="T62" fmla="*/ 1203 w 1699"/>
                <a:gd name="T63" fmla="*/ 1664 h 1664"/>
                <a:gd name="T64" fmla="*/ 1067 w 1699"/>
                <a:gd name="T65" fmla="*/ 1656 h 1664"/>
                <a:gd name="T66" fmla="*/ 939 w 1699"/>
                <a:gd name="T67" fmla="*/ 1579 h 1664"/>
                <a:gd name="T68" fmla="*/ 767 w 1699"/>
                <a:gd name="T69" fmla="*/ 1579 h 1664"/>
                <a:gd name="T70" fmla="*/ 675 w 1699"/>
                <a:gd name="T71" fmla="*/ 1504 h 1664"/>
                <a:gd name="T72" fmla="*/ 596 w 1699"/>
                <a:gd name="T73" fmla="*/ 1351 h 1664"/>
                <a:gd name="T74" fmla="*/ 482 w 1699"/>
                <a:gd name="T75" fmla="*/ 1408 h 1664"/>
                <a:gd name="T76" fmla="*/ 368 w 1699"/>
                <a:gd name="T77" fmla="*/ 1351 h 1664"/>
                <a:gd name="T78" fmla="*/ 331 w 1699"/>
                <a:gd name="T79" fmla="*/ 1288 h 1664"/>
                <a:gd name="T80" fmla="*/ 323 w 1699"/>
                <a:gd name="T81" fmla="*/ 1152 h 1664"/>
                <a:gd name="T82" fmla="*/ 275 w 1699"/>
                <a:gd name="T83" fmla="*/ 1008 h 1664"/>
                <a:gd name="T84" fmla="*/ 275 w 1699"/>
                <a:gd name="T85" fmla="*/ 896 h 1664"/>
                <a:gd name="T86" fmla="*/ 227 w 1699"/>
                <a:gd name="T87" fmla="*/ 744 h 1664"/>
                <a:gd name="T88" fmla="*/ 179 w 1699"/>
                <a:gd name="T89" fmla="*/ 600 h 1664"/>
                <a:gd name="T90" fmla="*/ 0 w 1699"/>
                <a:gd name="T91" fmla="*/ 297 h 1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99" h="1664">
                  <a:moveTo>
                    <a:pt x="0" y="297"/>
                  </a:moveTo>
                  <a:lnTo>
                    <a:pt x="129" y="311"/>
                  </a:lnTo>
                  <a:lnTo>
                    <a:pt x="247" y="413"/>
                  </a:lnTo>
                  <a:lnTo>
                    <a:pt x="366" y="464"/>
                  </a:lnTo>
                  <a:lnTo>
                    <a:pt x="487" y="396"/>
                  </a:lnTo>
                  <a:lnTo>
                    <a:pt x="589" y="312"/>
                  </a:lnTo>
                  <a:lnTo>
                    <a:pt x="703" y="164"/>
                  </a:lnTo>
                  <a:lnTo>
                    <a:pt x="828" y="164"/>
                  </a:lnTo>
                  <a:lnTo>
                    <a:pt x="1104" y="221"/>
                  </a:lnTo>
                  <a:lnTo>
                    <a:pt x="1237" y="80"/>
                  </a:lnTo>
                  <a:lnTo>
                    <a:pt x="1339" y="0"/>
                  </a:lnTo>
                  <a:lnTo>
                    <a:pt x="1528" y="65"/>
                  </a:lnTo>
                  <a:lnTo>
                    <a:pt x="1623" y="96"/>
                  </a:lnTo>
                  <a:lnTo>
                    <a:pt x="1623" y="153"/>
                  </a:lnTo>
                  <a:lnTo>
                    <a:pt x="1603" y="240"/>
                  </a:lnTo>
                  <a:lnTo>
                    <a:pt x="1566" y="324"/>
                  </a:lnTo>
                  <a:lnTo>
                    <a:pt x="1509" y="381"/>
                  </a:lnTo>
                  <a:lnTo>
                    <a:pt x="1509" y="381"/>
                  </a:lnTo>
                  <a:lnTo>
                    <a:pt x="1452" y="495"/>
                  </a:lnTo>
                  <a:lnTo>
                    <a:pt x="1475" y="576"/>
                  </a:lnTo>
                  <a:lnTo>
                    <a:pt x="1509" y="666"/>
                  </a:lnTo>
                  <a:lnTo>
                    <a:pt x="1566" y="724"/>
                  </a:lnTo>
                  <a:lnTo>
                    <a:pt x="1603" y="824"/>
                  </a:lnTo>
                  <a:lnTo>
                    <a:pt x="1623" y="895"/>
                  </a:lnTo>
                  <a:lnTo>
                    <a:pt x="1659" y="968"/>
                  </a:lnTo>
                  <a:lnTo>
                    <a:pt x="1680" y="1066"/>
                  </a:lnTo>
                  <a:lnTo>
                    <a:pt x="1699" y="1176"/>
                  </a:lnTo>
                  <a:lnTo>
                    <a:pt x="1680" y="1294"/>
                  </a:lnTo>
                  <a:lnTo>
                    <a:pt x="1635" y="1448"/>
                  </a:lnTo>
                  <a:lnTo>
                    <a:pt x="1509" y="1522"/>
                  </a:lnTo>
                  <a:lnTo>
                    <a:pt x="1299" y="1600"/>
                  </a:lnTo>
                  <a:lnTo>
                    <a:pt x="1203" y="1664"/>
                  </a:lnTo>
                  <a:lnTo>
                    <a:pt x="1067" y="1656"/>
                  </a:lnTo>
                  <a:lnTo>
                    <a:pt x="939" y="1579"/>
                  </a:lnTo>
                  <a:lnTo>
                    <a:pt x="767" y="1579"/>
                  </a:lnTo>
                  <a:lnTo>
                    <a:pt x="675" y="1504"/>
                  </a:lnTo>
                  <a:lnTo>
                    <a:pt x="596" y="1351"/>
                  </a:lnTo>
                  <a:lnTo>
                    <a:pt x="482" y="1408"/>
                  </a:lnTo>
                  <a:lnTo>
                    <a:pt x="368" y="1351"/>
                  </a:lnTo>
                  <a:lnTo>
                    <a:pt x="331" y="1288"/>
                  </a:lnTo>
                  <a:lnTo>
                    <a:pt x="323" y="1152"/>
                  </a:lnTo>
                  <a:lnTo>
                    <a:pt x="275" y="1008"/>
                  </a:lnTo>
                  <a:lnTo>
                    <a:pt x="275" y="896"/>
                  </a:lnTo>
                  <a:lnTo>
                    <a:pt x="227" y="744"/>
                  </a:lnTo>
                  <a:lnTo>
                    <a:pt x="179" y="600"/>
                  </a:lnTo>
                  <a:lnTo>
                    <a:pt x="0" y="297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4" name="Freeform 88">
              <a:extLst>
                <a:ext uri="{FF2B5EF4-FFF2-40B4-BE49-F238E27FC236}">
                  <a16:creationId xmlns:a16="http://schemas.microsoft.com/office/drawing/2014/main" id="{4C81FBC9-9884-7EB0-7CAE-B197FD689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286" y="4857750"/>
              <a:ext cx="284162" cy="490537"/>
            </a:xfrm>
            <a:custGeom>
              <a:avLst/>
              <a:gdLst>
                <a:gd name="T0" fmla="*/ 472 w 895"/>
                <a:gd name="T1" fmla="*/ 0 h 1545"/>
                <a:gd name="T2" fmla="*/ 515 w 895"/>
                <a:gd name="T3" fmla="*/ 48 h 1545"/>
                <a:gd name="T4" fmla="*/ 584 w 895"/>
                <a:gd name="T5" fmla="*/ 81 h 1545"/>
                <a:gd name="T6" fmla="*/ 654 w 895"/>
                <a:gd name="T7" fmla="*/ 164 h 1545"/>
                <a:gd name="T8" fmla="*/ 660 w 895"/>
                <a:gd name="T9" fmla="*/ 247 h 1545"/>
                <a:gd name="T10" fmla="*/ 697 w 895"/>
                <a:gd name="T11" fmla="*/ 337 h 1545"/>
                <a:gd name="T12" fmla="*/ 731 w 895"/>
                <a:gd name="T13" fmla="*/ 403 h 1545"/>
                <a:gd name="T14" fmla="*/ 733 w 895"/>
                <a:gd name="T15" fmla="*/ 490 h 1545"/>
                <a:gd name="T16" fmla="*/ 775 w 895"/>
                <a:gd name="T17" fmla="*/ 551 h 1545"/>
                <a:gd name="T18" fmla="*/ 806 w 895"/>
                <a:gd name="T19" fmla="*/ 642 h 1545"/>
                <a:gd name="T20" fmla="*/ 818 w 895"/>
                <a:gd name="T21" fmla="*/ 700 h 1545"/>
                <a:gd name="T22" fmla="*/ 812 w 895"/>
                <a:gd name="T23" fmla="*/ 774 h 1545"/>
                <a:gd name="T24" fmla="*/ 818 w 895"/>
                <a:gd name="T25" fmla="*/ 849 h 1545"/>
                <a:gd name="T26" fmla="*/ 842 w 895"/>
                <a:gd name="T27" fmla="*/ 968 h 1545"/>
                <a:gd name="T28" fmla="*/ 895 w 895"/>
                <a:gd name="T29" fmla="*/ 1059 h 1545"/>
                <a:gd name="T30" fmla="*/ 878 w 895"/>
                <a:gd name="T31" fmla="*/ 1156 h 1545"/>
                <a:gd name="T32" fmla="*/ 860 w 895"/>
                <a:gd name="T33" fmla="*/ 1239 h 1545"/>
                <a:gd name="T34" fmla="*/ 860 w 895"/>
                <a:gd name="T35" fmla="*/ 1308 h 1545"/>
                <a:gd name="T36" fmla="*/ 800 w 895"/>
                <a:gd name="T37" fmla="*/ 1336 h 1545"/>
                <a:gd name="T38" fmla="*/ 703 w 895"/>
                <a:gd name="T39" fmla="*/ 1320 h 1545"/>
                <a:gd name="T40" fmla="*/ 600 w 895"/>
                <a:gd name="T41" fmla="*/ 1315 h 1545"/>
                <a:gd name="T42" fmla="*/ 516 w 895"/>
                <a:gd name="T43" fmla="*/ 1343 h 1545"/>
                <a:gd name="T44" fmla="*/ 442 w 895"/>
                <a:gd name="T45" fmla="*/ 1378 h 1545"/>
                <a:gd name="T46" fmla="*/ 394 w 895"/>
                <a:gd name="T47" fmla="*/ 1398 h 1545"/>
                <a:gd name="T48" fmla="*/ 299 w 895"/>
                <a:gd name="T49" fmla="*/ 1442 h 1545"/>
                <a:gd name="T50" fmla="*/ 224 w 895"/>
                <a:gd name="T51" fmla="*/ 1489 h 1545"/>
                <a:gd name="T52" fmla="*/ 164 w 895"/>
                <a:gd name="T53" fmla="*/ 1530 h 1545"/>
                <a:gd name="T54" fmla="*/ 55 w 895"/>
                <a:gd name="T55" fmla="*/ 1545 h 1545"/>
                <a:gd name="T56" fmla="*/ 6 w 895"/>
                <a:gd name="T57" fmla="*/ 1379 h 1545"/>
                <a:gd name="T58" fmla="*/ 42 w 895"/>
                <a:gd name="T59" fmla="*/ 1228 h 1545"/>
                <a:gd name="T60" fmla="*/ 175 w 895"/>
                <a:gd name="T61" fmla="*/ 1072 h 1545"/>
                <a:gd name="T62" fmla="*/ 188 w 895"/>
                <a:gd name="T63" fmla="*/ 903 h 1545"/>
                <a:gd name="T64" fmla="*/ 168 w 895"/>
                <a:gd name="T65" fmla="*/ 741 h 1545"/>
                <a:gd name="T66" fmla="*/ 0 w 895"/>
                <a:gd name="T67" fmla="*/ 547 h 1545"/>
                <a:gd name="T68" fmla="*/ 65 w 895"/>
                <a:gd name="T69" fmla="*/ 463 h 1545"/>
                <a:gd name="T70" fmla="*/ 120 w 895"/>
                <a:gd name="T71" fmla="*/ 425 h 1545"/>
                <a:gd name="T72" fmla="*/ 168 w 895"/>
                <a:gd name="T73" fmla="*/ 346 h 1545"/>
                <a:gd name="T74" fmla="*/ 251 w 895"/>
                <a:gd name="T75" fmla="*/ 251 h 1545"/>
                <a:gd name="T76" fmla="*/ 350 w 895"/>
                <a:gd name="T77" fmla="*/ 130 h 1545"/>
                <a:gd name="T78" fmla="*/ 472 w 895"/>
                <a:gd name="T79" fmla="*/ 0 h 1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95" h="1545">
                  <a:moveTo>
                    <a:pt x="472" y="0"/>
                  </a:moveTo>
                  <a:lnTo>
                    <a:pt x="515" y="48"/>
                  </a:lnTo>
                  <a:lnTo>
                    <a:pt x="584" y="81"/>
                  </a:lnTo>
                  <a:lnTo>
                    <a:pt x="654" y="164"/>
                  </a:lnTo>
                  <a:lnTo>
                    <a:pt x="660" y="247"/>
                  </a:lnTo>
                  <a:lnTo>
                    <a:pt x="697" y="337"/>
                  </a:lnTo>
                  <a:lnTo>
                    <a:pt x="731" y="403"/>
                  </a:lnTo>
                  <a:lnTo>
                    <a:pt x="733" y="490"/>
                  </a:lnTo>
                  <a:lnTo>
                    <a:pt x="775" y="551"/>
                  </a:lnTo>
                  <a:lnTo>
                    <a:pt x="806" y="642"/>
                  </a:lnTo>
                  <a:lnTo>
                    <a:pt x="818" y="700"/>
                  </a:lnTo>
                  <a:lnTo>
                    <a:pt x="812" y="774"/>
                  </a:lnTo>
                  <a:lnTo>
                    <a:pt x="818" y="849"/>
                  </a:lnTo>
                  <a:lnTo>
                    <a:pt x="842" y="968"/>
                  </a:lnTo>
                  <a:lnTo>
                    <a:pt x="895" y="1059"/>
                  </a:lnTo>
                  <a:lnTo>
                    <a:pt x="878" y="1156"/>
                  </a:lnTo>
                  <a:lnTo>
                    <a:pt x="860" y="1239"/>
                  </a:lnTo>
                  <a:lnTo>
                    <a:pt x="860" y="1308"/>
                  </a:lnTo>
                  <a:lnTo>
                    <a:pt x="800" y="1336"/>
                  </a:lnTo>
                  <a:lnTo>
                    <a:pt x="703" y="1320"/>
                  </a:lnTo>
                  <a:lnTo>
                    <a:pt x="600" y="1315"/>
                  </a:lnTo>
                  <a:lnTo>
                    <a:pt x="516" y="1343"/>
                  </a:lnTo>
                  <a:lnTo>
                    <a:pt x="442" y="1378"/>
                  </a:lnTo>
                  <a:lnTo>
                    <a:pt x="394" y="1398"/>
                  </a:lnTo>
                  <a:lnTo>
                    <a:pt x="299" y="1442"/>
                  </a:lnTo>
                  <a:lnTo>
                    <a:pt x="224" y="1489"/>
                  </a:lnTo>
                  <a:lnTo>
                    <a:pt x="164" y="1530"/>
                  </a:lnTo>
                  <a:lnTo>
                    <a:pt x="55" y="1545"/>
                  </a:lnTo>
                  <a:lnTo>
                    <a:pt x="6" y="1379"/>
                  </a:lnTo>
                  <a:lnTo>
                    <a:pt x="42" y="1228"/>
                  </a:lnTo>
                  <a:lnTo>
                    <a:pt x="175" y="1072"/>
                  </a:lnTo>
                  <a:lnTo>
                    <a:pt x="188" y="903"/>
                  </a:lnTo>
                  <a:lnTo>
                    <a:pt x="168" y="741"/>
                  </a:lnTo>
                  <a:lnTo>
                    <a:pt x="0" y="547"/>
                  </a:lnTo>
                  <a:lnTo>
                    <a:pt x="65" y="463"/>
                  </a:lnTo>
                  <a:lnTo>
                    <a:pt x="120" y="425"/>
                  </a:lnTo>
                  <a:lnTo>
                    <a:pt x="168" y="346"/>
                  </a:lnTo>
                  <a:lnTo>
                    <a:pt x="251" y="251"/>
                  </a:lnTo>
                  <a:lnTo>
                    <a:pt x="350" y="130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rgbClr val="92D050"/>
            </a:solidFill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5" name="Freeform 89">
              <a:extLst>
                <a:ext uri="{FF2B5EF4-FFF2-40B4-BE49-F238E27FC236}">
                  <a16:creationId xmlns:a16="http://schemas.microsoft.com/office/drawing/2014/main" id="{3248ED4F-621F-551C-F588-BC636B602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023" y="4754563"/>
              <a:ext cx="282575" cy="490537"/>
            </a:xfrm>
            <a:custGeom>
              <a:avLst/>
              <a:gdLst>
                <a:gd name="T0" fmla="*/ 503 w 890"/>
                <a:gd name="T1" fmla="*/ 0 h 1545"/>
                <a:gd name="T2" fmla="*/ 557 w 890"/>
                <a:gd name="T3" fmla="*/ 137 h 1545"/>
                <a:gd name="T4" fmla="*/ 577 w 890"/>
                <a:gd name="T5" fmla="*/ 235 h 1545"/>
                <a:gd name="T6" fmla="*/ 656 w 890"/>
                <a:gd name="T7" fmla="*/ 230 h 1545"/>
                <a:gd name="T8" fmla="*/ 751 w 890"/>
                <a:gd name="T9" fmla="*/ 193 h 1545"/>
                <a:gd name="T10" fmla="*/ 835 w 890"/>
                <a:gd name="T11" fmla="*/ 238 h 1545"/>
                <a:gd name="T12" fmla="*/ 890 w 890"/>
                <a:gd name="T13" fmla="*/ 327 h 1545"/>
                <a:gd name="T14" fmla="*/ 890 w 890"/>
                <a:gd name="T15" fmla="*/ 475 h 1545"/>
                <a:gd name="T16" fmla="*/ 846 w 890"/>
                <a:gd name="T17" fmla="*/ 582 h 1545"/>
                <a:gd name="T18" fmla="*/ 846 w 890"/>
                <a:gd name="T19" fmla="*/ 645 h 1545"/>
                <a:gd name="T20" fmla="*/ 861 w 890"/>
                <a:gd name="T21" fmla="*/ 739 h 1545"/>
                <a:gd name="T22" fmla="*/ 835 w 890"/>
                <a:gd name="T23" fmla="*/ 801 h 1545"/>
                <a:gd name="T24" fmla="*/ 835 w 890"/>
                <a:gd name="T25" fmla="*/ 850 h 1545"/>
                <a:gd name="T26" fmla="*/ 835 w 890"/>
                <a:gd name="T27" fmla="*/ 900 h 1545"/>
                <a:gd name="T28" fmla="*/ 835 w 890"/>
                <a:gd name="T29" fmla="*/ 950 h 1545"/>
                <a:gd name="T30" fmla="*/ 835 w 890"/>
                <a:gd name="T31" fmla="*/ 950 h 1545"/>
                <a:gd name="T32" fmla="*/ 835 w 890"/>
                <a:gd name="T33" fmla="*/ 999 h 1545"/>
                <a:gd name="T34" fmla="*/ 806 w 890"/>
                <a:gd name="T35" fmla="*/ 1089 h 1545"/>
                <a:gd name="T36" fmla="*/ 749 w 890"/>
                <a:gd name="T37" fmla="*/ 1198 h 1545"/>
                <a:gd name="T38" fmla="*/ 737 w 890"/>
                <a:gd name="T39" fmla="*/ 1272 h 1545"/>
                <a:gd name="T40" fmla="*/ 723 w 890"/>
                <a:gd name="T41" fmla="*/ 1343 h 1545"/>
                <a:gd name="T42" fmla="*/ 702 w 890"/>
                <a:gd name="T43" fmla="*/ 1407 h 1545"/>
                <a:gd name="T44" fmla="*/ 647 w 890"/>
                <a:gd name="T45" fmla="*/ 1462 h 1545"/>
                <a:gd name="T46" fmla="*/ 577 w 890"/>
                <a:gd name="T47" fmla="*/ 1495 h 1545"/>
                <a:gd name="T48" fmla="*/ 491 w 890"/>
                <a:gd name="T49" fmla="*/ 1545 h 1545"/>
                <a:gd name="T50" fmla="*/ 361 w 890"/>
                <a:gd name="T51" fmla="*/ 1495 h 1545"/>
                <a:gd name="T52" fmla="*/ 308 w 890"/>
                <a:gd name="T53" fmla="*/ 1381 h 1545"/>
                <a:gd name="T54" fmla="*/ 256 w 890"/>
                <a:gd name="T55" fmla="*/ 1293 h 1545"/>
                <a:gd name="T56" fmla="*/ 232 w 890"/>
                <a:gd name="T57" fmla="*/ 1173 h 1545"/>
                <a:gd name="T58" fmla="*/ 224 w 890"/>
                <a:gd name="T59" fmla="*/ 1099 h 1545"/>
                <a:gd name="T60" fmla="*/ 232 w 890"/>
                <a:gd name="T61" fmla="*/ 1026 h 1545"/>
                <a:gd name="T62" fmla="*/ 222 w 890"/>
                <a:gd name="T63" fmla="*/ 971 h 1545"/>
                <a:gd name="T64" fmla="*/ 190 w 890"/>
                <a:gd name="T65" fmla="*/ 876 h 1545"/>
                <a:gd name="T66" fmla="*/ 147 w 890"/>
                <a:gd name="T67" fmla="*/ 815 h 1545"/>
                <a:gd name="T68" fmla="*/ 146 w 890"/>
                <a:gd name="T69" fmla="*/ 726 h 1545"/>
                <a:gd name="T70" fmla="*/ 114 w 890"/>
                <a:gd name="T71" fmla="*/ 666 h 1545"/>
                <a:gd name="T72" fmla="*/ 75 w 890"/>
                <a:gd name="T73" fmla="*/ 570 h 1545"/>
                <a:gd name="T74" fmla="*/ 69 w 890"/>
                <a:gd name="T75" fmla="*/ 487 h 1545"/>
                <a:gd name="T76" fmla="*/ 0 w 890"/>
                <a:gd name="T77" fmla="*/ 403 h 1545"/>
                <a:gd name="T78" fmla="*/ 105 w 890"/>
                <a:gd name="T79" fmla="*/ 321 h 1545"/>
                <a:gd name="T80" fmla="*/ 275 w 890"/>
                <a:gd name="T81" fmla="*/ 121 h 1545"/>
                <a:gd name="T82" fmla="*/ 396 w 890"/>
                <a:gd name="T83" fmla="*/ 40 h 1545"/>
                <a:gd name="T84" fmla="*/ 503 w 890"/>
                <a:gd name="T85" fmla="*/ 0 h 1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90" h="1545">
                  <a:moveTo>
                    <a:pt x="503" y="0"/>
                  </a:moveTo>
                  <a:lnTo>
                    <a:pt x="557" y="137"/>
                  </a:lnTo>
                  <a:lnTo>
                    <a:pt x="577" y="235"/>
                  </a:lnTo>
                  <a:lnTo>
                    <a:pt x="656" y="230"/>
                  </a:lnTo>
                  <a:lnTo>
                    <a:pt x="751" y="193"/>
                  </a:lnTo>
                  <a:lnTo>
                    <a:pt x="835" y="238"/>
                  </a:lnTo>
                  <a:lnTo>
                    <a:pt x="890" y="327"/>
                  </a:lnTo>
                  <a:lnTo>
                    <a:pt x="890" y="475"/>
                  </a:lnTo>
                  <a:lnTo>
                    <a:pt x="846" y="582"/>
                  </a:lnTo>
                  <a:lnTo>
                    <a:pt x="846" y="645"/>
                  </a:lnTo>
                  <a:lnTo>
                    <a:pt x="861" y="739"/>
                  </a:lnTo>
                  <a:lnTo>
                    <a:pt x="835" y="801"/>
                  </a:lnTo>
                  <a:lnTo>
                    <a:pt x="835" y="850"/>
                  </a:lnTo>
                  <a:lnTo>
                    <a:pt x="835" y="900"/>
                  </a:lnTo>
                  <a:lnTo>
                    <a:pt x="835" y="950"/>
                  </a:lnTo>
                  <a:lnTo>
                    <a:pt x="835" y="950"/>
                  </a:lnTo>
                  <a:lnTo>
                    <a:pt x="835" y="999"/>
                  </a:lnTo>
                  <a:lnTo>
                    <a:pt x="806" y="1089"/>
                  </a:lnTo>
                  <a:lnTo>
                    <a:pt x="749" y="1198"/>
                  </a:lnTo>
                  <a:lnTo>
                    <a:pt x="737" y="1272"/>
                  </a:lnTo>
                  <a:lnTo>
                    <a:pt x="723" y="1343"/>
                  </a:lnTo>
                  <a:lnTo>
                    <a:pt x="702" y="1407"/>
                  </a:lnTo>
                  <a:lnTo>
                    <a:pt x="647" y="1462"/>
                  </a:lnTo>
                  <a:lnTo>
                    <a:pt x="577" y="1495"/>
                  </a:lnTo>
                  <a:lnTo>
                    <a:pt x="491" y="1545"/>
                  </a:lnTo>
                  <a:lnTo>
                    <a:pt x="361" y="1495"/>
                  </a:lnTo>
                  <a:lnTo>
                    <a:pt x="308" y="1381"/>
                  </a:lnTo>
                  <a:lnTo>
                    <a:pt x="256" y="1293"/>
                  </a:lnTo>
                  <a:lnTo>
                    <a:pt x="232" y="1173"/>
                  </a:lnTo>
                  <a:lnTo>
                    <a:pt x="224" y="1099"/>
                  </a:lnTo>
                  <a:lnTo>
                    <a:pt x="232" y="1026"/>
                  </a:lnTo>
                  <a:lnTo>
                    <a:pt x="222" y="971"/>
                  </a:lnTo>
                  <a:lnTo>
                    <a:pt x="190" y="876"/>
                  </a:lnTo>
                  <a:lnTo>
                    <a:pt x="147" y="815"/>
                  </a:lnTo>
                  <a:lnTo>
                    <a:pt x="146" y="726"/>
                  </a:lnTo>
                  <a:lnTo>
                    <a:pt x="114" y="666"/>
                  </a:lnTo>
                  <a:lnTo>
                    <a:pt x="75" y="570"/>
                  </a:lnTo>
                  <a:lnTo>
                    <a:pt x="69" y="487"/>
                  </a:lnTo>
                  <a:lnTo>
                    <a:pt x="0" y="403"/>
                  </a:lnTo>
                  <a:lnTo>
                    <a:pt x="105" y="321"/>
                  </a:lnTo>
                  <a:lnTo>
                    <a:pt x="275" y="121"/>
                  </a:lnTo>
                  <a:lnTo>
                    <a:pt x="396" y="40"/>
                  </a:lnTo>
                  <a:lnTo>
                    <a:pt x="503" y="0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6" name="Freeform 90">
              <a:extLst>
                <a:ext uri="{FF2B5EF4-FFF2-40B4-BE49-F238E27FC236}">
                  <a16:creationId xmlns:a16="http://schemas.microsoft.com/office/drawing/2014/main" id="{4F2067A9-5D7E-3BBA-44AF-5C6693922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3011" y="4887913"/>
              <a:ext cx="393700" cy="488950"/>
            </a:xfrm>
            <a:custGeom>
              <a:avLst/>
              <a:gdLst>
                <a:gd name="T0" fmla="*/ 845 w 1240"/>
                <a:gd name="T1" fmla="*/ 0 h 1538"/>
                <a:gd name="T2" fmla="*/ 932 w 1240"/>
                <a:gd name="T3" fmla="*/ 4 h 1538"/>
                <a:gd name="T4" fmla="*/ 1060 w 1240"/>
                <a:gd name="T5" fmla="*/ 155 h 1538"/>
                <a:gd name="T6" fmla="*/ 1046 w 1240"/>
                <a:gd name="T7" fmla="*/ 256 h 1538"/>
                <a:gd name="T8" fmla="*/ 1023 w 1240"/>
                <a:gd name="T9" fmla="*/ 328 h 1538"/>
                <a:gd name="T10" fmla="*/ 1110 w 1240"/>
                <a:gd name="T11" fmla="*/ 379 h 1538"/>
                <a:gd name="T12" fmla="*/ 1204 w 1240"/>
                <a:gd name="T13" fmla="*/ 469 h 1538"/>
                <a:gd name="T14" fmla="*/ 1240 w 1240"/>
                <a:gd name="T15" fmla="*/ 579 h 1538"/>
                <a:gd name="T16" fmla="*/ 1239 w 1240"/>
                <a:gd name="T17" fmla="*/ 674 h 1538"/>
                <a:gd name="T18" fmla="*/ 1185 w 1240"/>
                <a:gd name="T19" fmla="*/ 743 h 1538"/>
                <a:gd name="T20" fmla="*/ 1101 w 1240"/>
                <a:gd name="T21" fmla="*/ 778 h 1538"/>
                <a:gd name="T22" fmla="*/ 1024 w 1240"/>
                <a:gd name="T23" fmla="*/ 824 h 1538"/>
                <a:gd name="T24" fmla="*/ 977 w 1240"/>
                <a:gd name="T25" fmla="*/ 894 h 1538"/>
                <a:gd name="T26" fmla="*/ 954 w 1240"/>
                <a:gd name="T27" fmla="*/ 953 h 1538"/>
                <a:gd name="T28" fmla="*/ 935 w 1240"/>
                <a:gd name="T29" fmla="*/ 1075 h 1538"/>
                <a:gd name="T30" fmla="*/ 882 w 1240"/>
                <a:gd name="T31" fmla="*/ 1159 h 1538"/>
                <a:gd name="T32" fmla="*/ 792 w 1240"/>
                <a:gd name="T33" fmla="*/ 1180 h 1538"/>
                <a:gd name="T34" fmla="*/ 722 w 1240"/>
                <a:gd name="T35" fmla="*/ 1225 h 1538"/>
                <a:gd name="T36" fmla="*/ 634 w 1240"/>
                <a:gd name="T37" fmla="*/ 1225 h 1538"/>
                <a:gd name="T38" fmla="*/ 601 w 1240"/>
                <a:gd name="T39" fmla="*/ 1268 h 1538"/>
                <a:gd name="T40" fmla="*/ 548 w 1240"/>
                <a:gd name="T41" fmla="*/ 1320 h 1538"/>
                <a:gd name="T42" fmla="*/ 549 w 1240"/>
                <a:gd name="T43" fmla="*/ 1421 h 1538"/>
                <a:gd name="T44" fmla="*/ 572 w 1240"/>
                <a:gd name="T45" fmla="*/ 1500 h 1538"/>
                <a:gd name="T46" fmla="*/ 506 w 1240"/>
                <a:gd name="T47" fmla="*/ 1534 h 1538"/>
                <a:gd name="T48" fmla="*/ 329 w 1240"/>
                <a:gd name="T49" fmla="*/ 1538 h 1538"/>
                <a:gd name="T50" fmla="*/ 208 w 1240"/>
                <a:gd name="T51" fmla="*/ 1513 h 1538"/>
                <a:gd name="T52" fmla="*/ 132 w 1240"/>
                <a:gd name="T53" fmla="*/ 1465 h 1538"/>
                <a:gd name="T54" fmla="*/ 70 w 1240"/>
                <a:gd name="T55" fmla="*/ 1389 h 1538"/>
                <a:gd name="T56" fmla="*/ 14 w 1240"/>
                <a:gd name="T57" fmla="*/ 1298 h 1538"/>
                <a:gd name="T58" fmla="*/ 0 w 1240"/>
                <a:gd name="T59" fmla="*/ 1187 h 1538"/>
                <a:gd name="T60" fmla="*/ 1 w 1240"/>
                <a:gd name="T61" fmla="*/ 1124 h 1538"/>
                <a:gd name="T62" fmla="*/ 83 w 1240"/>
                <a:gd name="T63" fmla="*/ 1078 h 1538"/>
                <a:gd name="T64" fmla="*/ 167 w 1240"/>
                <a:gd name="T65" fmla="*/ 1036 h 1538"/>
                <a:gd name="T66" fmla="*/ 222 w 1240"/>
                <a:gd name="T67" fmla="*/ 979 h 1538"/>
                <a:gd name="T68" fmla="*/ 248 w 1240"/>
                <a:gd name="T69" fmla="*/ 866 h 1538"/>
                <a:gd name="T70" fmla="*/ 262 w 1240"/>
                <a:gd name="T71" fmla="*/ 785 h 1538"/>
                <a:gd name="T72" fmla="*/ 326 w 1240"/>
                <a:gd name="T73" fmla="*/ 660 h 1538"/>
                <a:gd name="T74" fmla="*/ 352 w 1240"/>
                <a:gd name="T75" fmla="*/ 575 h 1538"/>
                <a:gd name="T76" fmla="*/ 349 w 1240"/>
                <a:gd name="T77" fmla="*/ 380 h 1538"/>
                <a:gd name="T78" fmla="*/ 374 w 1240"/>
                <a:gd name="T79" fmla="*/ 317 h 1538"/>
                <a:gd name="T80" fmla="*/ 528 w 1240"/>
                <a:gd name="T81" fmla="*/ 353 h 1538"/>
                <a:gd name="T82" fmla="*/ 570 w 1240"/>
                <a:gd name="T83" fmla="*/ 301 h 1538"/>
                <a:gd name="T84" fmla="*/ 615 w 1240"/>
                <a:gd name="T85" fmla="*/ 188 h 1538"/>
                <a:gd name="T86" fmla="*/ 658 w 1240"/>
                <a:gd name="T87" fmla="*/ 143 h 1538"/>
                <a:gd name="T88" fmla="*/ 717 w 1240"/>
                <a:gd name="T89" fmla="*/ 96 h 1538"/>
                <a:gd name="T90" fmla="*/ 796 w 1240"/>
                <a:gd name="T91" fmla="*/ 53 h 1538"/>
                <a:gd name="T92" fmla="*/ 845 w 1240"/>
                <a:gd name="T93" fmla="*/ 0 h 1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40" h="1538">
                  <a:moveTo>
                    <a:pt x="845" y="0"/>
                  </a:moveTo>
                  <a:lnTo>
                    <a:pt x="932" y="4"/>
                  </a:lnTo>
                  <a:lnTo>
                    <a:pt x="1060" y="155"/>
                  </a:lnTo>
                  <a:lnTo>
                    <a:pt x="1046" y="256"/>
                  </a:lnTo>
                  <a:lnTo>
                    <a:pt x="1023" y="328"/>
                  </a:lnTo>
                  <a:lnTo>
                    <a:pt x="1110" y="379"/>
                  </a:lnTo>
                  <a:lnTo>
                    <a:pt x="1204" y="469"/>
                  </a:lnTo>
                  <a:lnTo>
                    <a:pt x="1240" y="579"/>
                  </a:lnTo>
                  <a:lnTo>
                    <a:pt x="1239" y="674"/>
                  </a:lnTo>
                  <a:lnTo>
                    <a:pt x="1185" y="743"/>
                  </a:lnTo>
                  <a:lnTo>
                    <a:pt x="1101" y="778"/>
                  </a:lnTo>
                  <a:lnTo>
                    <a:pt x="1024" y="824"/>
                  </a:lnTo>
                  <a:lnTo>
                    <a:pt x="977" y="894"/>
                  </a:lnTo>
                  <a:lnTo>
                    <a:pt x="954" y="953"/>
                  </a:lnTo>
                  <a:lnTo>
                    <a:pt x="935" y="1075"/>
                  </a:lnTo>
                  <a:lnTo>
                    <a:pt x="882" y="1159"/>
                  </a:lnTo>
                  <a:lnTo>
                    <a:pt x="792" y="1180"/>
                  </a:lnTo>
                  <a:lnTo>
                    <a:pt x="722" y="1225"/>
                  </a:lnTo>
                  <a:lnTo>
                    <a:pt x="634" y="1225"/>
                  </a:lnTo>
                  <a:lnTo>
                    <a:pt x="601" y="1268"/>
                  </a:lnTo>
                  <a:lnTo>
                    <a:pt x="548" y="1320"/>
                  </a:lnTo>
                  <a:lnTo>
                    <a:pt x="549" y="1421"/>
                  </a:lnTo>
                  <a:lnTo>
                    <a:pt x="572" y="1500"/>
                  </a:lnTo>
                  <a:lnTo>
                    <a:pt x="506" y="1534"/>
                  </a:lnTo>
                  <a:lnTo>
                    <a:pt x="329" y="1538"/>
                  </a:lnTo>
                  <a:lnTo>
                    <a:pt x="208" y="1513"/>
                  </a:lnTo>
                  <a:lnTo>
                    <a:pt x="132" y="1465"/>
                  </a:lnTo>
                  <a:lnTo>
                    <a:pt x="70" y="1389"/>
                  </a:lnTo>
                  <a:lnTo>
                    <a:pt x="14" y="1298"/>
                  </a:lnTo>
                  <a:lnTo>
                    <a:pt x="0" y="1187"/>
                  </a:lnTo>
                  <a:lnTo>
                    <a:pt x="1" y="1124"/>
                  </a:lnTo>
                  <a:lnTo>
                    <a:pt x="83" y="1078"/>
                  </a:lnTo>
                  <a:lnTo>
                    <a:pt x="167" y="1036"/>
                  </a:lnTo>
                  <a:lnTo>
                    <a:pt x="222" y="979"/>
                  </a:lnTo>
                  <a:lnTo>
                    <a:pt x="248" y="866"/>
                  </a:lnTo>
                  <a:lnTo>
                    <a:pt x="262" y="785"/>
                  </a:lnTo>
                  <a:lnTo>
                    <a:pt x="326" y="660"/>
                  </a:lnTo>
                  <a:lnTo>
                    <a:pt x="352" y="575"/>
                  </a:lnTo>
                  <a:lnTo>
                    <a:pt x="349" y="380"/>
                  </a:lnTo>
                  <a:lnTo>
                    <a:pt x="374" y="317"/>
                  </a:lnTo>
                  <a:lnTo>
                    <a:pt x="528" y="353"/>
                  </a:lnTo>
                  <a:lnTo>
                    <a:pt x="570" y="301"/>
                  </a:lnTo>
                  <a:lnTo>
                    <a:pt x="615" y="188"/>
                  </a:lnTo>
                  <a:lnTo>
                    <a:pt x="658" y="143"/>
                  </a:lnTo>
                  <a:lnTo>
                    <a:pt x="717" y="96"/>
                  </a:lnTo>
                  <a:lnTo>
                    <a:pt x="796" y="53"/>
                  </a:lnTo>
                  <a:lnTo>
                    <a:pt x="845" y="0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7" name="Freeform 91">
              <a:extLst>
                <a:ext uri="{FF2B5EF4-FFF2-40B4-BE49-F238E27FC236}">
                  <a16:creationId xmlns:a16="http://schemas.microsoft.com/office/drawing/2014/main" id="{5CB9A536-9D5A-44C7-7090-FCF33478F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0586" y="5272088"/>
              <a:ext cx="312737" cy="325437"/>
            </a:xfrm>
            <a:custGeom>
              <a:avLst/>
              <a:gdLst>
                <a:gd name="T0" fmla="*/ 342 w 985"/>
                <a:gd name="T1" fmla="*/ 132 h 1025"/>
                <a:gd name="T2" fmla="*/ 469 w 985"/>
                <a:gd name="T3" fmla="*/ 76 h 1025"/>
                <a:gd name="T4" fmla="*/ 559 w 985"/>
                <a:gd name="T5" fmla="*/ 36 h 1025"/>
                <a:gd name="T6" fmla="*/ 637 w 985"/>
                <a:gd name="T7" fmla="*/ 12 h 1025"/>
                <a:gd name="T8" fmla="*/ 740 w 985"/>
                <a:gd name="T9" fmla="*/ 14 h 1025"/>
                <a:gd name="T10" fmla="*/ 840 w 985"/>
                <a:gd name="T11" fmla="*/ 28 h 1025"/>
                <a:gd name="T12" fmla="*/ 900 w 985"/>
                <a:gd name="T13" fmla="*/ 0 h 1025"/>
                <a:gd name="T14" fmla="*/ 899 w 985"/>
                <a:gd name="T15" fmla="*/ 76 h 1025"/>
                <a:gd name="T16" fmla="*/ 901 w 985"/>
                <a:gd name="T17" fmla="*/ 130 h 1025"/>
                <a:gd name="T18" fmla="*/ 942 w 985"/>
                <a:gd name="T19" fmla="*/ 209 h 1025"/>
                <a:gd name="T20" fmla="*/ 985 w 985"/>
                <a:gd name="T21" fmla="*/ 274 h 1025"/>
                <a:gd name="T22" fmla="*/ 962 w 985"/>
                <a:gd name="T23" fmla="*/ 375 h 1025"/>
                <a:gd name="T24" fmla="*/ 928 w 985"/>
                <a:gd name="T25" fmla="*/ 455 h 1025"/>
                <a:gd name="T26" fmla="*/ 942 w 985"/>
                <a:gd name="T27" fmla="*/ 521 h 1025"/>
                <a:gd name="T28" fmla="*/ 949 w 985"/>
                <a:gd name="T29" fmla="*/ 629 h 1025"/>
                <a:gd name="T30" fmla="*/ 942 w 985"/>
                <a:gd name="T31" fmla="*/ 692 h 1025"/>
                <a:gd name="T32" fmla="*/ 899 w 985"/>
                <a:gd name="T33" fmla="*/ 718 h 1025"/>
                <a:gd name="T34" fmla="*/ 839 w 985"/>
                <a:gd name="T35" fmla="*/ 795 h 1025"/>
                <a:gd name="T36" fmla="*/ 813 w 985"/>
                <a:gd name="T37" fmla="*/ 866 h 1025"/>
                <a:gd name="T38" fmla="*/ 770 w 985"/>
                <a:gd name="T39" fmla="*/ 916 h 1025"/>
                <a:gd name="T40" fmla="*/ 727 w 985"/>
                <a:gd name="T41" fmla="*/ 1015 h 1025"/>
                <a:gd name="T42" fmla="*/ 666 w 985"/>
                <a:gd name="T43" fmla="*/ 1025 h 1025"/>
                <a:gd name="T44" fmla="*/ 570 w 985"/>
                <a:gd name="T45" fmla="*/ 1017 h 1025"/>
                <a:gd name="T46" fmla="*/ 512 w 985"/>
                <a:gd name="T47" fmla="*/ 1015 h 1025"/>
                <a:gd name="T48" fmla="*/ 469 w 985"/>
                <a:gd name="T49" fmla="*/ 965 h 1025"/>
                <a:gd name="T50" fmla="*/ 426 w 985"/>
                <a:gd name="T51" fmla="*/ 965 h 1025"/>
                <a:gd name="T52" fmla="*/ 383 w 985"/>
                <a:gd name="T53" fmla="*/ 965 h 1025"/>
                <a:gd name="T54" fmla="*/ 316 w 985"/>
                <a:gd name="T55" fmla="*/ 942 h 1025"/>
                <a:gd name="T56" fmla="*/ 254 w 985"/>
                <a:gd name="T57" fmla="*/ 916 h 1025"/>
                <a:gd name="T58" fmla="*/ 211 w 985"/>
                <a:gd name="T59" fmla="*/ 866 h 1025"/>
                <a:gd name="T60" fmla="*/ 211 w 985"/>
                <a:gd name="T61" fmla="*/ 768 h 1025"/>
                <a:gd name="T62" fmla="*/ 211 w 985"/>
                <a:gd name="T63" fmla="*/ 669 h 1025"/>
                <a:gd name="T64" fmla="*/ 150 w 985"/>
                <a:gd name="T65" fmla="*/ 581 h 1025"/>
                <a:gd name="T66" fmla="*/ 81 w 985"/>
                <a:gd name="T67" fmla="*/ 605 h 1025"/>
                <a:gd name="T68" fmla="*/ 0 w 985"/>
                <a:gd name="T69" fmla="*/ 563 h 1025"/>
                <a:gd name="T70" fmla="*/ 56 w 985"/>
                <a:gd name="T71" fmla="*/ 451 h 1025"/>
                <a:gd name="T72" fmla="*/ 99 w 985"/>
                <a:gd name="T73" fmla="*/ 237 h 1025"/>
                <a:gd name="T74" fmla="*/ 205 w 985"/>
                <a:gd name="T75" fmla="*/ 222 h 1025"/>
                <a:gd name="T76" fmla="*/ 342 w 985"/>
                <a:gd name="T77" fmla="*/ 132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85" h="1025">
                  <a:moveTo>
                    <a:pt x="342" y="132"/>
                  </a:moveTo>
                  <a:lnTo>
                    <a:pt x="469" y="76"/>
                  </a:lnTo>
                  <a:lnTo>
                    <a:pt x="559" y="36"/>
                  </a:lnTo>
                  <a:lnTo>
                    <a:pt x="637" y="12"/>
                  </a:lnTo>
                  <a:lnTo>
                    <a:pt x="740" y="14"/>
                  </a:lnTo>
                  <a:lnTo>
                    <a:pt x="840" y="28"/>
                  </a:lnTo>
                  <a:lnTo>
                    <a:pt x="900" y="0"/>
                  </a:lnTo>
                  <a:lnTo>
                    <a:pt x="899" y="76"/>
                  </a:lnTo>
                  <a:lnTo>
                    <a:pt x="901" y="130"/>
                  </a:lnTo>
                  <a:lnTo>
                    <a:pt x="942" y="209"/>
                  </a:lnTo>
                  <a:lnTo>
                    <a:pt x="985" y="274"/>
                  </a:lnTo>
                  <a:lnTo>
                    <a:pt x="962" y="375"/>
                  </a:lnTo>
                  <a:lnTo>
                    <a:pt x="928" y="455"/>
                  </a:lnTo>
                  <a:lnTo>
                    <a:pt x="942" y="521"/>
                  </a:lnTo>
                  <a:lnTo>
                    <a:pt x="949" y="629"/>
                  </a:lnTo>
                  <a:lnTo>
                    <a:pt x="942" y="692"/>
                  </a:lnTo>
                  <a:lnTo>
                    <a:pt x="899" y="718"/>
                  </a:lnTo>
                  <a:lnTo>
                    <a:pt x="839" y="795"/>
                  </a:lnTo>
                  <a:lnTo>
                    <a:pt x="813" y="866"/>
                  </a:lnTo>
                  <a:lnTo>
                    <a:pt x="770" y="916"/>
                  </a:lnTo>
                  <a:lnTo>
                    <a:pt x="727" y="1015"/>
                  </a:lnTo>
                  <a:lnTo>
                    <a:pt x="666" y="1025"/>
                  </a:lnTo>
                  <a:lnTo>
                    <a:pt x="570" y="1017"/>
                  </a:lnTo>
                  <a:lnTo>
                    <a:pt x="512" y="1015"/>
                  </a:lnTo>
                  <a:lnTo>
                    <a:pt x="469" y="965"/>
                  </a:lnTo>
                  <a:lnTo>
                    <a:pt x="426" y="965"/>
                  </a:lnTo>
                  <a:lnTo>
                    <a:pt x="383" y="965"/>
                  </a:lnTo>
                  <a:lnTo>
                    <a:pt x="316" y="942"/>
                  </a:lnTo>
                  <a:lnTo>
                    <a:pt x="254" y="916"/>
                  </a:lnTo>
                  <a:lnTo>
                    <a:pt x="211" y="866"/>
                  </a:lnTo>
                  <a:lnTo>
                    <a:pt x="211" y="768"/>
                  </a:lnTo>
                  <a:lnTo>
                    <a:pt x="211" y="669"/>
                  </a:lnTo>
                  <a:lnTo>
                    <a:pt x="150" y="581"/>
                  </a:lnTo>
                  <a:lnTo>
                    <a:pt x="81" y="605"/>
                  </a:lnTo>
                  <a:lnTo>
                    <a:pt x="0" y="563"/>
                  </a:lnTo>
                  <a:lnTo>
                    <a:pt x="56" y="451"/>
                  </a:lnTo>
                  <a:lnTo>
                    <a:pt x="99" y="237"/>
                  </a:lnTo>
                  <a:lnTo>
                    <a:pt x="205" y="222"/>
                  </a:lnTo>
                  <a:lnTo>
                    <a:pt x="342" y="132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8" name="Freeform 92">
              <a:extLst>
                <a:ext uri="{FF2B5EF4-FFF2-40B4-BE49-F238E27FC236}">
                  <a16:creationId xmlns:a16="http://schemas.microsoft.com/office/drawing/2014/main" id="{B3273EA7-B15C-FA4D-0B26-D42B7E4A8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2198" y="5194300"/>
              <a:ext cx="339725" cy="585787"/>
            </a:xfrm>
            <a:custGeom>
              <a:avLst/>
              <a:gdLst>
                <a:gd name="T0" fmla="*/ 1046 w 1070"/>
                <a:gd name="T1" fmla="*/ 532 h 1843"/>
                <a:gd name="T2" fmla="*/ 980 w 1070"/>
                <a:gd name="T3" fmla="*/ 568 h 1843"/>
                <a:gd name="T4" fmla="*/ 798 w 1070"/>
                <a:gd name="T5" fmla="*/ 571 h 1843"/>
                <a:gd name="T6" fmla="*/ 684 w 1070"/>
                <a:gd name="T7" fmla="*/ 546 h 1843"/>
                <a:gd name="T8" fmla="*/ 606 w 1070"/>
                <a:gd name="T9" fmla="*/ 500 h 1843"/>
                <a:gd name="T10" fmla="*/ 541 w 1070"/>
                <a:gd name="T11" fmla="*/ 418 h 1843"/>
                <a:gd name="T12" fmla="*/ 487 w 1070"/>
                <a:gd name="T13" fmla="*/ 331 h 1843"/>
                <a:gd name="T14" fmla="*/ 476 w 1070"/>
                <a:gd name="T15" fmla="*/ 230 h 1843"/>
                <a:gd name="T16" fmla="*/ 477 w 1070"/>
                <a:gd name="T17" fmla="*/ 158 h 1843"/>
                <a:gd name="T18" fmla="*/ 351 w 1070"/>
                <a:gd name="T19" fmla="*/ 108 h 1843"/>
                <a:gd name="T20" fmla="*/ 300 w 1070"/>
                <a:gd name="T21" fmla="*/ 0 h 1843"/>
                <a:gd name="T22" fmla="*/ 284 w 1070"/>
                <a:gd name="T23" fmla="*/ 89 h 1843"/>
                <a:gd name="T24" fmla="*/ 267 w 1070"/>
                <a:gd name="T25" fmla="*/ 174 h 1843"/>
                <a:gd name="T26" fmla="*/ 263 w 1070"/>
                <a:gd name="T27" fmla="*/ 241 h 1843"/>
                <a:gd name="T28" fmla="*/ 264 w 1070"/>
                <a:gd name="T29" fmla="*/ 368 h 1843"/>
                <a:gd name="T30" fmla="*/ 307 w 1070"/>
                <a:gd name="T31" fmla="*/ 451 h 1843"/>
                <a:gd name="T32" fmla="*/ 350 w 1070"/>
                <a:gd name="T33" fmla="*/ 516 h 1843"/>
                <a:gd name="T34" fmla="*/ 325 w 1070"/>
                <a:gd name="T35" fmla="*/ 618 h 1843"/>
                <a:gd name="T36" fmla="*/ 293 w 1070"/>
                <a:gd name="T37" fmla="*/ 696 h 1843"/>
                <a:gd name="T38" fmla="*/ 307 w 1070"/>
                <a:gd name="T39" fmla="*/ 761 h 1843"/>
                <a:gd name="T40" fmla="*/ 312 w 1070"/>
                <a:gd name="T41" fmla="*/ 858 h 1843"/>
                <a:gd name="T42" fmla="*/ 307 w 1070"/>
                <a:gd name="T43" fmla="*/ 934 h 1843"/>
                <a:gd name="T44" fmla="*/ 263 w 1070"/>
                <a:gd name="T45" fmla="*/ 959 h 1843"/>
                <a:gd name="T46" fmla="*/ 200 w 1070"/>
                <a:gd name="T47" fmla="*/ 1040 h 1843"/>
                <a:gd name="T48" fmla="*/ 177 w 1070"/>
                <a:gd name="T49" fmla="*/ 1107 h 1843"/>
                <a:gd name="T50" fmla="*/ 132 w 1070"/>
                <a:gd name="T51" fmla="*/ 1158 h 1843"/>
                <a:gd name="T52" fmla="*/ 89 w 1070"/>
                <a:gd name="T53" fmla="*/ 1259 h 1843"/>
                <a:gd name="T54" fmla="*/ 87 w 1070"/>
                <a:gd name="T55" fmla="*/ 1331 h 1843"/>
                <a:gd name="T56" fmla="*/ 87 w 1070"/>
                <a:gd name="T57" fmla="*/ 1431 h 1843"/>
                <a:gd name="T58" fmla="*/ 43 w 1070"/>
                <a:gd name="T59" fmla="*/ 1530 h 1843"/>
                <a:gd name="T60" fmla="*/ 0 w 1070"/>
                <a:gd name="T61" fmla="*/ 1629 h 1843"/>
                <a:gd name="T62" fmla="*/ 34 w 1070"/>
                <a:gd name="T63" fmla="*/ 1676 h 1843"/>
                <a:gd name="T64" fmla="*/ 57 w 1070"/>
                <a:gd name="T65" fmla="*/ 1770 h 1843"/>
                <a:gd name="T66" fmla="*/ 102 w 1070"/>
                <a:gd name="T67" fmla="*/ 1843 h 1843"/>
                <a:gd name="T68" fmla="*/ 173 w 1070"/>
                <a:gd name="T69" fmla="*/ 1827 h 1843"/>
                <a:gd name="T70" fmla="*/ 225 w 1070"/>
                <a:gd name="T71" fmla="*/ 1807 h 1843"/>
                <a:gd name="T72" fmla="*/ 312 w 1070"/>
                <a:gd name="T73" fmla="*/ 1760 h 1843"/>
                <a:gd name="T74" fmla="*/ 367 w 1070"/>
                <a:gd name="T75" fmla="*/ 1749 h 1843"/>
                <a:gd name="T76" fmla="*/ 412 w 1070"/>
                <a:gd name="T77" fmla="*/ 1640 h 1843"/>
                <a:gd name="T78" fmla="*/ 421 w 1070"/>
                <a:gd name="T79" fmla="*/ 1530 h 1843"/>
                <a:gd name="T80" fmla="*/ 433 w 1070"/>
                <a:gd name="T81" fmla="*/ 1431 h 1843"/>
                <a:gd name="T82" fmla="*/ 477 w 1070"/>
                <a:gd name="T83" fmla="*/ 1331 h 1843"/>
                <a:gd name="T84" fmla="*/ 477 w 1070"/>
                <a:gd name="T85" fmla="*/ 1282 h 1843"/>
                <a:gd name="T86" fmla="*/ 508 w 1070"/>
                <a:gd name="T87" fmla="*/ 1202 h 1843"/>
                <a:gd name="T88" fmla="*/ 517 w 1070"/>
                <a:gd name="T89" fmla="*/ 1140 h 1843"/>
                <a:gd name="T90" fmla="*/ 549 w 1070"/>
                <a:gd name="T91" fmla="*/ 1082 h 1843"/>
                <a:gd name="T92" fmla="*/ 606 w 1070"/>
                <a:gd name="T93" fmla="*/ 1034 h 1843"/>
                <a:gd name="T94" fmla="*/ 650 w 1070"/>
                <a:gd name="T95" fmla="*/ 985 h 1843"/>
                <a:gd name="T96" fmla="*/ 650 w 1070"/>
                <a:gd name="T97" fmla="*/ 985 h 1843"/>
                <a:gd name="T98" fmla="*/ 736 w 1070"/>
                <a:gd name="T99" fmla="*/ 985 h 1843"/>
                <a:gd name="T100" fmla="*/ 776 w 1070"/>
                <a:gd name="T101" fmla="*/ 1041 h 1843"/>
                <a:gd name="T102" fmla="*/ 836 w 1070"/>
                <a:gd name="T103" fmla="*/ 1061 h 1843"/>
                <a:gd name="T104" fmla="*/ 899 w 1070"/>
                <a:gd name="T105" fmla="*/ 1082 h 1843"/>
                <a:gd name="T106" fmla="*/ 972 w 1070"/>
                <a:gd name="T107" fmla="*/ 1082 h 1843"/>
                <a:gd name="T108" fmla="*/ 1024 w 1070"/>
                <a:gd name="T109" fmla="*/ 994 h 1843"/>
                <a:gd name="T110" fmla="*/ 1070 w 1070"/>
                <a:gd name="T111" fmla="*/ 908 h 1843"/>
                <a:gd name="T112" fmla="*/ 1065 w 1070"/>
                <a:gd name="T113" fmla="*/ 808 h 1843"/>
                <a:gd name="T114" fmla="*/ 1063 w 1070"/>
                <a:gd name="T115" fmla="*/ 698 h 1843"/>
                <a:gd name="T116" fmla="*/ 1046 w 1070"/>
                <a:gd name="T117" fmla="*/ 532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70" h="1843">
                  <a:moveTo>
                    <a:pt x="1046" y="532"/>
                  </a:moveTo>
                  <a:lnTo>
                    <a:pt x="980" y="568"/>
                  </a:lnTo>
                  <a:lnTo>
                    <a:pt x="798" y="571"/>
                  </a:lnTo>
                  <a:lnTo>
                    <a:pt x="684" y="546"/>
                  </a:lnTo>
                  <a:lnTo>
                    <a:pt x="606" y="500"/>
                  </a:lnTo>
                  <a:lnTo>
                    <a:pt x="541" y="418"/>
                  </a:lnTo>
                  <a:lnTo>
                    <a:pt x="487" y="331"/>
                  </a:lnTo>
                  <a:lnTo>
                    <a:pt x="476" y="230"/>
                  </a:lnTo>
                  <a:lnTo>
                    <a:pt x="477" y="158"/>
                  </a:lnTo>
                  <a:lnTo>
                    <a:pt x="351" y="108"/>
                  </a:lnTo>
                  <a:lnTo>
                    <a:pt x="300" y="0"/>
                  </a:lnTo>
                  <a:lnTo>
                    <a:pt x="284" y="89"/>
                  </a:lnTo>
                  <a:lnTo>
                    <a:pt x="267" y="174"/>
                  </a:lnTo>
                  <a:lnTo>
                    <a:pt x="263" y="241"/>
                  </a:lnTo>
                  <a:lnTo>
                    <a:pt x="264" y="368"/>
                  </a:lnTo>
                  <a:lnTo>
                    <a:pt x="307" y="451"/>
                  </a:lnTo>
                  <a:lnTo>
                    <a:pt x="350" y="516"/>
                  </a:lnTo>
                  <a:lnTo>
                    <a:pt x="325" y="618"/>
                  </a:lnTo>
                  <a:lnTo>
                    <a:pt x="293" y="696"/>
                  </a:lnTo>
                  <a:lnTo>
                    <a:pt x="307" y="761"/>
                  </a:lnTo>
                  <a:lnTo>
                    <a:pt x="312" y="858"/>
                  </a:lnTo>
                  <a:lnTo>
                    <a:pt x="307" y="934"/>
                  </a:lnTo>
                  <a:lnTo>
                    <a:pt x="263" y="959"/>
                  </a:lnTo>
                  <a:lnTo>
                    <a:pt x="200" y="1040"/>
                  </a:lnTo>
                  <a:lnTo>
                    <a:pt x="177" y="1107"/>
                  </a:lnTo>
                  <a:lnTo>
                    <a:pt x="132" y="1158"/>
                  </a:lnTo>
                  <a:lnTo>
                    <a:pt x="89" y="1259"/>
                  </a:lnTo>
                  <a:lnTo>
                    <a:pt x="87" y="1331"/>
                  </a:lnTo>
                  <a:lnTo>
                    <a:pt x="87" y="1431"/>
                  </a:lnTo>
                  <a:lnTo>
                    <a:pt x="43" y="1530"/>
                  </a:lnTo>
                  <a:lnTo>
                    <a:pt x="0" y="1629"/>
                  </a:lnTo>
                  <a:lnTo>
                    <a:pt x="34" y="1676"/>
                  </a:lnTo>
                  <a:lnTo>
                    <a:pt x="57" y="1770"/>
                  </a:lnTo>
                  <a:lnTo>
                    <a:pt x="102" y="1843"/>
                  </a:lnTo>
                  <a:lnTo>
                    <a:pt x="173" y="1827"/>
                  </a:lnTo>
                  <a:lnTo>
                    <a:pt x="225" y="1807"/>
                  </a:lnTo>
                  <a:lnTo>
                    <a:pt x="312" y="1760"/>
                  </a:lnTo>
                  <a:lnTo>
                    <a:pt x="367" y="1749"/>
                  </a:lnTo>
                  <a:lnTo>
                    <a:pt x="412" y="1640"/>
                  </a:lnTo>
                  <a:lnTo>
                    <a:pt x="421" y="1530"/>
                  </a:lnTo>
                  <a:lnTo>
                    <a:pt x="433" y="1431"/>
                  </a:lnTo>
                  <a:lnTo>
                    <a:pt x="477" y="1331"/>
                  </a:lnTo>
                  <a:lnTo>
                    <a:pt x="477" y="1282"/>
                  </a:lnTo>
                  <a:lnTo>
                    <a:pt x="508" y="1202"/>
                  </a:lnTo>
                  <a:lnTo>
                    <a:pt x="517" y="1140"/>
                  </a:lnTo>
                  <a:lnTo>
                    <a:pt x="549" y="1082"/>
                  </a:lnTo>
                  <a:lnTo>
                    <a:pt x="606" y="1034"/>
                  </a:lnTo>
                  <a:lnTo>
                    <a:pt x="650" y="985"/>
                  </a:lnTo>
                  <a:lnTo>
                    <a:pt x="650" y="985"/>
                  </a:lnTo>
                  <a:lnTo>
                    <a:pt x="736" y="985"/>
                  </a:lnTo>
                  <a:lnTo>
                    <a:pt x="776" y="1041"/>
                  </a:lnTo>
                  <a:lnTo>
                    <a:pt x="836" y="1061"/>
                  </a:lnTo>
                  <a:lnTo>
                    <a:pt x="899" y="1082"/>
                  </a:lnTo>
                  <a:lnTo>
                    <a:pt x="972" y="1082"/>
                  </a:lnTo>
                  <a:lnTo>
                    <a:pt x="1024" y="994"/>
                  </a:lnTo>
                  <a:lnTo>
                    <a:pt x="1070" y="908"/>
                  </a:lnTo>
                  <a:lnTo>
                    <a:pt x="1065" y="808"/>
                  </a:lnTo>
                  <a:lnTo>
                    <a:pt x="1063" y="698"/>
                  </a:lnTo>
                  <a:lnTo>
                    <a:pt x="1046" y="532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9" name="Freeform 93">
              <a:extLst>
                <a:ext uri="{FF2B5EF4-FFF2-40B4-BE49-F238E27FC236}">
                  <a16:creationId xmlns:a16="http://schemas.microsoft.com/office/drawing/2014/main" id="{46ABCBA7-2135-2B53-22BB-C272FAC23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623" y="5451475"/>
              <a:ext cx="419100" cy="558800"/>
            </a:xfrm>
            <a:custGeom>
              <a:avLst/>
              <a:gdLst>
                <a:gd name="T0" fmla="*/ 85 w 1320"/>
                <a:gd name="T1" fmla="*/ 626 h 1761"/>
                <a:gd name="T2" fmla="*/ 114 w 1320"/>
                <a:gd name="T3" fmla="*/ 552 h 1761"/>
                <a:gd name="T4" fmla="*/ 128 w 1320"/>
                <a:gd name="T5" fmla="*/ 480 h 1761"/>
                <a:gd name="T6" fmla="*/ 129 w 1320"/>
                <a:gd name="T7" fmla="*/ 428 h 1761"/>
                <a:gd name="T8" fmla="*/ 54 w 1320"/>
                <a:gd name="T9" fmla="*/ 400 h 1761"/>
                <a:gd name="T10" fmla="*/ 104 w 1320"/>
                <a:gd name="T11" fmla="*/ 282 h 1761"/>
                <a:gd name="T12" fmla="*/ 193 w 1320"/>
                <a:gd name="T13" fmla="*/ 135 h 1761"/>
                <a:gd name="T14" fmla="*/ 251 w 1320"/>
                <a:gd name="T15" fmla="*/ 0 h 1761"/>
                <a:gd name="T16" fmla="*/ 333 w 1320"/>
                <a:gd name="T17" fmla="*/ 42 h 1761"/>
                <a:gd name="T18" fmla="*/ 404 w 1320"/>
                <a:gd name="T19" fmla="*/ 16 h 1761"/>
                <a:gd name="T20" fmla="*/ 463 w 1320"/>
                <a:gd name="T21" fmla="*/ 102 h 1761"/>
                <a:gd name="T22" fmla="*/ 464 w 1320"/>
                <a:gd name="T23" fmla="*/ 300 h 1761"/>
                <a:gd name="T24" fmla="*/ 507 w 1320"/>
                <a:gd name="T25" fmla="*/ 352 h 1761"/>
                <a:gd name="T26" fmla="*/ 637 w 1320"/>
                <a:gd name="T27" fmla="*/ 402 h 1761"/>
                <a:gd name="T28" fmla="*/ 722 w 1320"/>
                <a:gd name="T29" fmla="*/ 402 h 1761"/>
                <a:gd name="T30" fmla="*/ 766 w 1320"/>
                <a:gd name="T31" fmla="*/ 450 h 1761"/>
                <a:gd name="T32" fmla="*/ 921 w 1320"/>
                <a:gd name="T33" fmla="*/ 462 h 1761"/>
                <a:gd name="T34" fmla="*/ 980 w 1320"/>
                <a:gd name="T35" fmla="*/ 451 h 1761"/>
                <a:gd name="T36" fmla="*/ 979 w 1320"/>
                <a:gd name="T37" fmla="*/ 619 h 1761"/>
                <a:gd name="T38" fmla="*/ 890 w 1320"/>
                <a:gd name="T39" fmla="*/ 821 h 1761"/>
                <a:gd name="T40" fmla="*/ 926 w 1320"/>
                <a:gd name="T41" fmla="*/ 874 h 1761"/>
                <a:gd name="T42" fmla="*/ 950 w 1320"/>
                <a:gd name="T43" fmla="*/ 963 h 1761"/>
                <a:gd name="T44" fmla="*/ 975 w 1320"/>
                <a:gd name="T45" fmla="*/ 1005 h 1761"/>
                <a:gd name="T46" fmla="*/ 995 w 1320"/>
                <a:gd name="T47" fmla="*/ 1036 h 1761"/>
                <a:gd name="T48" fmla="*/ 1063 w 1320"/>
                <a:gd name="T49" fmla="*/ 1018 h 1761"/>
                <a:gd name="T50" fmla="*/ 1129 w 1320"/>
                <a:gd name="T51" fmla="*/ 994 h 1761"/>
                <a:gd name="T52" fmla="*/ 1204 w 1320"/>
                <a:gd name="T53" fmla="*/ 953 h 1761"/>
                <a:gd name="T54" fmla="*/ 1257 w 1320"/>
                <a:gd name="T55" fmla="*/ 943 h 1761"/>
                <a:gd name="T56" fmla="*/ 1284 w 1320"/>
                <a:gd name="T57" fmla="*/ 1014 h 1761"/>
                <a:gd name="T58" fmla="*/ 1250 w 1320"/>
                <a:gd name="T59" fmla="*/ 1074 h 1761"/>
                <a:gd name="T60" fmla="*/ 1290 w 1320"/>
                <a:gd name="T61" fmla="*/ 1171 h 1761"/>
                <a:gd name="T62" fmla="*/ 1296 w 1320"/>
                <a:gd name="T63" fmla="*/ 1269 h 1761"/>
                <a:gd name="T64" fmla="*/ 1308 w 1320"/>
                <a:gd name="T65" fmla="*/ 1338 h 1761"/>
                <a:gd name="T66" fmla="*/ 1320 w 1320"/>
                <a:gd name="T67" fmla="*/ 1436 h 1761"/>
                <a:gd name="T68" fmla="*/ 1235 w 1320"/>
                <a:gd name="T69" fmla="*/ 1484 h 1761"/>
                <a:gd name="T70" fmla="*/ 1141 w 1320"/>
                <a:gd name="T71" fmla="*/ 1543 h 1761"/>
                <a:gd name="T72" fmla="*/ 1083 w 1320"/>
                <a:gd name="T73" fmla="*/ 1679 h 1761"/>
                <a:gd name="T74" fmla="*/ 1025 w 1320"/>
                <a:gd name="T75" fmla="*/ 1761 h 1761"/>
                <a:gd name="T76" fmla="*/ 923 w 1320"/>
                <a:gd name="T77" fmla="*/ 1730 h 1761"/>
                <a:gd name="T78" fmla="*/ 851 w 1320"/>
                <a:gd name="T79" fmla="*/ 1662 h 1761"/>
                <a:gd name="T80" fmla="*/ 764 w 1320"/>
                <a:gd name="T81" fmla="*/ 1612 h 1761"/>
                <a:gd name="T82" fmla="*/ 683 w 1320"/>
                <a:gd name="T83" fmla="*/ 1588 h 1761"/>
                <a:gd name="T84" fmla="*/ 635 w 1320"/>
                <a:gd name="T85" fmla="*/ 1612 h 1761"/>
                <a:gd name="T86" fmla="*/ 514 w 1320"/>
                <a:gd name="T87" fmla="*/ 1658 h 1761"/>
                <a:gd name="T88" fmla="*/ 435 w 1320"/>
                <a:gd name="T89" fmla="*/ 1671 h 1761"/>
                <a:gd name="T90" fmla="*/ 376 w 1320"/>
                <a:gd name="T91" fmla="*/ 1662 h 1761"/>
                <a:gd name="T92" fmla="*/ 302 w 1320"/>
                <a:gd name="T93" fmla="*/ 1692 h 1761"/>
                <a:gd name="T94" fmla="*/ 246 w 1320"/>
                <a:gd name="T95" fmla="*/ 1711 h 1761"/>
                <a:gd name="T96" fmla="*/ 214 w 1320"/>
                <a:gd name="T97" fmla="*/ 1699 h 1761"/>
                <a:gd name="T98" fmla="*/ 139 w 1320"/>
                <a:gd name="T99" fmla="*/ 1603 h 1761"/>
                <a:gd name="T100" fmla="*/ 167 w 1320"/>
                <a:gd name="T101" fmla="*/ 1486 h 1761"/>
                <a:gd name="T102" fmla="*/ 186 w 1320"/>
                <a:gd name="T103" fmla="*/ 1368 h 1761"/>
                <a:gd name="T104" fmla="*/ 171 w 1320"/>
                <a:gd name="T105" fmla="*/ 1266 h 1761"/>
                <a:gd name="T106" fmla="*/ 157 w 1320"/>
                <a:gd name="T107" fmla="*/ 1188 h 1761"/>
                <a:gd name="T108" fmla="*/ 128 w 1320"/>
                <a:gd name="T109" fmla="*/ 1118 h 1761"/>
                <a:gd name="T110" fmla="*/ 111 w 1320"/>
                <a:gd name="T111" fmla="*/ 1050 h 1761"/>
                <a:gd name="T112" fmla="*/ 86 w 1320"/>
                <a:gd name="T113" fmla="*/ 975 h 1761"/>
                <a:gd name="T114" fmla="*/ 43 w 1320"/>
                <a:gd name="T115" fmla="*/ 923 h 1761"/>
                <a:gd name="T116" fmla="*/ 17 w 1320"/>
                <a:gd name="T117" fmla="*/ 847 h 1761"/>
                <a:gd name="T118" fmla="*/ 0 w 1320"/>
                <a:gd name="T119" fmla="*/ 775 h 1761"/>
                <a:gd name="T120" fmla="*/ 41 w 1320"/>
                <a:gd name="T121" fmla="*/ 677 h 1761"/>
                <a:gd name="T122" fmla="*/ 85 w 1320"/>
                <a:gd name="T123" fmla="*/ 626 h 1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20" h="1761">
                  <a:moveTo>
                    <a:pt x="85" y="626"/>
                  </a:moveTo>
                  <a:lnTo>
                    <a:pt x="114" y="552"/>
                  </a:lnTo>
                  <a:lnTo>
                    <a:pt x="128" y="480"/>
                  </a:lnTo>
                  <a:lnTo>
                    <a:pt x="129" y="428"/>
                  </a:lnTo>
                  <a:lnTo>
                    <a:pt x="54" y="400"/>
                  </a:lnTo>
                  <a:lnTo>
                    <a:pt x="104" y="282"/>
                  </a:lnTo>
                  <a:lnTo>
                    <a:pt x="193" y="135"/>
                  </a:lnTo>
                  <a:lnTo>
                    <a:pt x="251" y="0"/>
                  </a:lnTo>
                  <a:lnTo>
                    <a:pt x="333" y="42"/>
                  </a:lnTo>
                  <a:lnTo>
                    <a:pt x="404" y="16"/>
                  </a:lnTo>
                  <a:lnTo>
                    <a:pt x="463" y="102"/>
                  </a:lnTo>
                  <a:lnTo>
                    <a:pt x="464" y="300"/>
                  </a:lnTo>
                  <a:lnTo>
                    <a:pt x="507" y="352"/>
                  </a:lnTo>
                  <a:lnTo>
                    <a:pt x="637" y="402"/>
                  </a:lnTo>
                  <a:lnTo>
                    <a:pt x="722" y="402"/>
                  </a:lnTo>
                  <a:lnTo>
                    <a:pt x="766" y="450"/>
                  </a:lnTo>
                  <a:lnTo>
                    <a:pt x="921" y="462"/>
                  </a:lnTo>
                  <a:lnTo>
                    <a:pt x="980" y="451"/>
                  </a:lnTo>
                  <a:lnTo>
                    <a:pt x="979" y="619"/>
                  </a:lnTo>
                  <a:lnTo>
                    <a:pt x="890" y="821"/>
                  </a:lnTo>
                  <a:lnTo>
                    <a:pt x="926" y="874"/>
                  </a:lnTo>
                  <a:lnTo>
                    <a:pt x="950" y="963"/>
                  </a:lnTo>
                  <a:lnTo>
                    <a:pt x="975" y="1005"/>
                  </a:lnTo>
                  <a:lnTo>
                    <a:pt x="995" y="1036"/>
                  </a:lnTo>
                  <a:lnTo>
                    <a:pt x="1063" y="1018"/>
                  </a:lnTo>
                  <a:lnTo>
                    <a:pt x="1129" y="994"/>
                  </a:lnTo>
                  <a:lnTo>
                    <a:pt x="1204" y="953"/>
                  </a:lnTo>
                  <a:lnTo>
                    <a:pt x="1257" y="943"/>
                  </a:lnTo>
                  <a:lnTo>
                    <a:pt x="1284" y="1014"/>
                  </a:lnTo>
                  <a:lnTo>
                    <a:pt x="1250" y="1074"/>
                  </a:lnTo>
                  <a:lnTo>
                    <a:pt x="1290" y="1171"/>
                  </a:lnTo>
                  <a:lnTo>
                    <a:pt x="1296" y="1269"/>
                  </a:lnTo>
                  <a:lnTo>
                    <a:pt x="1308" y="1338"/>
                  </a:lnTo>
                  <a:lnTo>
                    <a:pt x="1320" y="1436"/>
                  </a:lnTo>
                  <a:lnTo>
                    <a:pt x="1235" y="1484"/>
                  </a:lnTo>
                  <a:lnTo>
                    <a:pt x="1141" y="1543"/>
                  </a:lnTo>
                  <a:lnTo>
                    <a:pt x="1083" y="1679"/>
                  </a:lnTo>
                  <a:lnTo>
                    <a:pt x="1025" y="1761"/>
                  </a:lnTo>
                  <a:lnTo>
                    <a:pt x="923" y="1730"/>
                  </a:lnTo>
                  <a:lnTo>
                    <a:pt x="851" y="1662"/>
                  </a:lnTo>
                  <a:lnTo>
                    <a:pt x="764" y="1612"/>
                  </a:lnTo>
                  <a:lnTo>
                    <a:pt x="683" y="1588"/>
                  </a:lnTo>
                  <a:lnTo>
                    <a:pt x="635" y="1612"/>
                  </a:lnTo>
                  <a:lnTo>
                    <a:pt x="514" y="1658"/>
                  </a:lnTo>
                  <a:lnTo>
                    <a:pt x="435" y="1671"/>
                  </a:lnTo>
                  <a:lnTo>
                    <a:pt x="376" y="1662"/>
                  </a:lnTo>
                  <a:lnTo>
                    <a:pt x="302" y="1692"/>
                  </a:lnTo>
                  <a:lnTo>
                    <a:pt x="246" y="1711"/>
                  </a:lnTo>
                  <a:lnTo>
                    <a:pt x="214" y="1699"/>
                  </a:lnTo>
                  <a:lnTo>
                    <a:pt x="139" y="1603"/>
                  </a:lnTo>
                  <a:lnTo>
                    <a:pt x="167" y="1486"/>
                  </a:lnTo>
                  <a:lnTo>
                    <a:pt x="186" y="1368"/>
                  </a:lnTo>
                  <a:lnTo>
                    <a:pt x="171" y="1266"/>
                  </a:lnTo>
                  <a:lnTo>
                    <a:pt x="157" y="1188"/>
                  </a:lnTo>
                  <a:lnTo>
                    <a:pt x="128" y="1118"/>
                  </a:lnTo>
                  <a:lnTo>
                    <a:pt x="111" y="1050"/>
                  </a:lnTo>
                  <a:lnTo>
                    <a:pt x="86" y="975"/>
                  </a:lnTo>
                  <a:lnTo>
                    <a:pt x="43" y="923"/>
                  </a:lnTo>
                  <a:lnTo>
                    <a:pt x="17" y="847"/>
                  </a:lnTo>
                  <a:lnTo>
                    <a:pt x="0" y="775"/>
                  </a:lnTo>
                  <a:lnTo>
                    <a:pt x="41" y="677"/>
                  </a:lnTo>
                  <a:lnTo>
                    <a:pt x="85" y="626"/>
                  </a:lnTo>
                  <a:close/>
                </a:path>
              </a:pathLst>
            </a:custGeom>
            <a:solidFill>
              <a:srgbClr val="92D050"/>
            </a:solidFill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100" name="Freeform 94">
              <a:extLst>
                <a:ext uri="{FF2B5EF4-FFF2-40B4-BE49-F238E27FC236}">
                  <a16:creationId xmlns:a16="http://schemas.microsoft.com/office/drawing/2014/main" id="{741EC57C-40B8-AF79-5C1D-31CCC6B2A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6498" y="5508625"/>
              <a:ext cx="317500" cy="427037"/>
            </a:xfrm>
            <a:custGeom>
              <a:avLst/>
              <a:gdLst>
                <a:gd name="T0" fmla="*/ 1055 w 1085"/>
                <a:gd name="T1" fmla="*/ 1236 h 1483"/>
                <a:gd name="T2" fmla="*/ 1085 w 1085"/>
                <a:gd name="T3" fmla="*/ 1099 h 1483"/>
                <a:gd name="T4" fmla="*/ 1006 w 1085"/>
                <a:gd name="T5" fmla="*/ 869 h 1483"/>
                <a:gd name="T6" fmla="*/ 937 w 1085"/>
                <a:gd name="T7" fmla="*/ 709 h 1483"/>
                <a:gd name="T8" fmla="*/ 909 w 1085"/>
                <a:gd name="T9" fmla="*/ 608 h 1483"/>
                <a:gd name="T10" fmla="*/ 830 w 1085"/>
                <a:gd name="T11" fmla="*/ 502 h 1483"/>
                <a:gd name="T12" fmla="*/ 758 w 1085"/>
                <a:gd name="T13" fmla="*/ 349 h 1483"/>
                <a:gd name="T14" fmla="*/ 671 w 1085"/>
                <a:gd name="T15" fmla="*/ 177 h 1483"/>
                <a:gd name="T16" fmla="*/ 666 w 1085"/>
                <a:gd name="T17" fmla="*/ 105 h 1483"/>
                <a:gd name="T18" fmla="*/ 587 w 1085"/>
                <a:gd name="T19" fmla="*/ 106 h 1483"/>
                <a:gd name="T20" fmla="*/ 454 w 1085"/>
                <a:gd name="T21" fmla="*/ 62 h 1483"/>
                <a:gd name="T22" fmla="*/ 409 w 1085"/>
                <a:gd name="T23" fmla="*/ 0 h 1483"/>
                <a:gd name="T24" fmla="*/ 314 w 1085"/>
                <a:gd name="T25" fmla="*/ 0 h 1483"/>
                <a:gd name="T26" fmla="*/ 267 w 1085"/>
                <a:gd name="T27" fmla="*/ 54 h 1483"/>
                <a:gd name="T28" fmla="*/ 205 w 1085"/>
                <a:gd name="T29" fmla="*/ 106 h 1483"/>
                <a:gd name="T30" fmla="*/ 170 w 1085"/>
                <a:gd name="T31" fmla="*/ 165 h 1483"/>
                <a:gd name="T32" fmla="*/ 158 w 1085"/>
                <a:gd name="T33" fmla="*/ 243 h 1483"/>
                <a:gd name="T34" fmla="*/ 127 w 1085"/>
                <a:gd name="T35" fmla="*/ 324 h 1483"/>
                <a:gd name="T36" fmla="*/ 125 w 1085"/>
                <a:gd name="T37" fmla="*/ 384 h 1483"/>
                <a:gd name="T38" fmla="*/ 79 w 1085"/>
                <a:gd name="T39" fmla="*/ 492 h 1483"/>
                <a:gd name="T40" fmla="*/ 66 w 1085"/>
                <a:gd name="T41" fmla="*/ 610 h 1483"/>
                <a:gd name="T42" fmla="*/ 56 w 1085"/>
                <a:gd name="T43" fmla="*/ 722 h 1483"/>
                <a:gd name="T44" fmla="*/ 6 w 1085"/>
                <a:gd name="T45" fmla="*/ 842 h 1483"/>
                <a:gd name="T46" fmla="*/ 37 w 1085"/>
                <a:gd name="T47" fmla="*/ 915 h 1483"/>
                <a:gd name="T48" fmla="*/ 0 w 1085"/>
                <a:gd name="T49" fmla="*/ 985 h 1483"/>
                <a:gd name="T50" fmla="*/ 43 w 1085"/>
                <a:gd name="T51" fmla="*/ 1092 h 1483"/>
                <a:gd name="T52" fmla="*/ 49 w 1085"/>
                <a:gd name="T53" fmla="*/ 1192 h 1483"/>
                <a:gd name="T54" fmla="*/ 64 w 1085"/>
                <a:gd name="T55" fmla="*/ 1293 h 1483"/>
                <a:gd name="T56" fmla="*/ 75 w 1085"/>
                <a:gd name="T57" fmla="*/ 1386 h 1483"/>
                <a:gd name="T58" fmla="*/ 224 w 1085"/>
                <a:gd name="T59" fmla="*/ 1483 h 1483"/>
                <a:gd name="T60" fmla="*/ 366 w 1085"/>
                <a:gd name="T61" fmla="*/ 1483 h 1483"/>
                <a:gd name="T62" fmla="*/ 460 w 1085"/>
                <a:gd name="T63" fmla="*/ 1483 h 1483"/>
                <a:gd name="T64" fmla="*/ 554 w 1085"/>
                <a:gd name="T65" fmla="*/ 1374 h 1483"/>
                <a:gd name="T66" fmla="*/ 648 w 1085"/>
                <a:gd name="T67" fmla="*/ 1319 h 1483"/>
                <a:gd name="T68" fmla="*/ 789 w 1085"/>
                <a:gd name="T69" fmla="*/ 1319 h 1483"/>
                <a:gd name="T70" fmla="*/ 884 w 1085"/>
                <a:gd name="T71" fmla="*/ 1319 h 1483"/>
                <a:gd name="T72" fmla="*/ 1055 w 1085"/>
                <a:gd name="T73" fmla="*/ 1236 h 1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5" h="1483">
                  <a:moveTo>
                    <a:pt x="1055" y="1236"/>
                  </a:moveTo>
                  <a:lnTo>
                    <a:pt x="1085" y="1099"/>
                  </a:lnTo>
                  <a:lnTo>
                    <a:pt x="1006" y="869"/>
                  </a:lnTo>
                  <a:lnTo>
                    <a:pt x="937" y="709"/>
                  </a:lnTo>
                  <a:lnTo>
                    <a:pt x="909" y="608"/>
                  </a:lnTo>
                  <a:lnTo>
                    <a:pt x="830" y="502"/>
                  </a:lnTo>
                  <a:lnTo>
                    <a:pt x="758" y="349"/>
                  </a:lnTo>
                  <a:lnTo>
                    <a:pt x="671" y="177"/>
                  </a:lnTo>
                  <a:lnTo>
                    <a:pt x="666" y="105"/>
                  </a:lnTo>
                  <a:lnTo>
                    <a:pt x="587" y="106"/>
                  </a:lnTo>
                  <a:lnTo>
                    <a:pt x="454" y="62"/>
                  </a:lnTo>
                  <a:lnTo>
                    <a:pt x="409" y="0"/>
                  </a:lnTo>
                  <a:lnTo>
                    <a:pt x="314" y="0"/>
                  </a:lnTo>
                  <a:lnTo>
                    <a:pt x="267" y="54"/>
                  </a:lnTo>
                  <a:lnTo>
                    <a:pt x="205" y="106"/>
                  </a:lnTo>
                  <a:lnTo>
                    <a:pt x="170" y="165"/>
                  </a:lnTo>
                  <a:lnTo>
                    <a:pt x="158" y="243"/>
                  </a:lnTo>
                  <a:lnTo>
                    <a:pt x="127" y="324"/>
                  </a:lnTo>
                  <a:lnTo>
                    <a:pt x="125" y="384"/>
                  </a:lnTo>
                  <a:lnTo>
                    <a:pt x="79" y="492"/>
                  </a:lnTo>
                  <a:lnTo>
                    <a:pt x="66" y="610"/>
                  </a:lnTo>
                  <a:lnTo>
                    <a:pt x="56" y="722"/>
                  </a:lnTo>
                  <a:lnTo>
                    <a:pt x="6" y="842"/>
                  </a:lnTo>
                  <a:lnTo>
                    <a:pt x="37" y="915"/>
                  </a:lnTo>
                  <a:lnTo>
                    <a:pt x="0" y="985"/>
                  </a:lnTo>
                  <a:lnTo>
                    <a:pt x="43" y="1092"/>
                  </a:lnTo>
                  <a:lnTo>
                    <a:pt x="49" y="1192"/>
                  </a:lnTo>
                  <a:lnTo>
                    <a:pt x="64" y="1293"/>
                  </a:lnTo>
                  <a:lnTo>
                    <a:pt x="75" y="1386"/>
                  </a:lnTo>
                  <a:lnTo>
                    <a:pt x="224" y="1483"/>
                  </a:lnTo>
                  <a:lnTo>
                    <a:pt x="366" y="1483"/>
                  </a:lnTo>
                  <a:lnTo>
                    <a:pt x="460" y="1483"/>
                  </a:lnTo>
                  <a:lnTo>
                    <a:pt x="554" y="1374"/>
                  </a:lnTo>
                  <a:lnTo>
                    <a:pt x="648" y="1319"/>
                  </a:lnTo>
                  <a:lnTo>
                    <a:pt x="789" y="1319"/>
                  </a:lnTo>
                  <a:lnTo>
                    <a:pt x="884" y="1319"/>
                  </a:lnTo>
                  <a:lnTo>
                    <a:pt x="1055" y="1236"/>
                  </a:lnTo>
                  <a:close/>
                </a:path>
              </a:pathLst>
            </a:custGeom>
            <a:solidFill>
              <a:srgbClr val="92D050"/>
            </a:solidFill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101" name="Freeform 95">
              <a:extLst>
                <a:ext uri="{FF2B5EF4-FFF2-40B4-BE49-F238E27FC236}">
                  <a16:creationId xmlns:a16="http://schemas.microsoft.com/office/drawing/2014/main" id="{54CBE969-A04E-757F-89F8-FCB62035F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3048" y="1762125"/>
              <a:ext cx="1168400" cy="1665287"/>
            </a:xfrm>
            <a:custGeom>
              <a:avLst/>
              <a:gdLst>
                <a:gd name="T0" fmla="*/ 483 w 3680"/>
                <a:gd name="T1" fmla="*/ 5244 h 5244"/>
                <a:gd name="T2" fmla="*/ 705 w 3680"/>
                <a:gd name="T3" fmla="*/ 5040 h 5244"/>
                <a:gd name="T4" fmla="*/ 875 w 3680"/>
                <a:gd name="T5" fmla="*/ 4776 h 5244"/>
                <a:gd name="T6" fmla="*/ 1178 w 3680"/>
                <a:gd name="T7" fmla="*/ 4700 h 5244"/>
                <a:gd name="T8" fmla="*/ 1437 w 3680"/>
                <a:gd name="T9" fmla="*/ 4552 h 5244"/>
                <a:gd name="T10" fmla="*/ 1653 w 3680"/>
                <a:gd name="T11" fmla="*/ 4503 h 5244"/>
                <a:gd name="T12" fmla="*/ 1888 w 3680"/>
                <a:gd name="T13" fmla="*/ 4633 h 5244"/>
                <a:gd name="T14" fmla="*/ 2084 w 3680"/>
                <a:gd name="T15" fmla="*/ 4602 h 5244"/>
                <a:gd name="T16" fmla="*/ 2170 w 3680"/>
                <a:gd name="T17" fmla="*/ 4255 h 5244"/>
                <a:gd name="T18" fmla="*/ 2300 w 3680"/>
                <a:gd name="T19" fmla="*/ 4007 h 5244"/>
                <a:gd name="T20" fmla="*/ 2476 w 3680"/>
                <a:gd name="T21" fmla="*/ 3926 h 5244"/>
                <a:gd name="T22" fmla="*/ 2731 w 3680"/>
                <a:gd name="T23" fmla="*/ 3758 h 5244"/>
                <a:gd name="T24" fmla="*/ 2804 w 3680"/>
                <a:gd name="T25" fmla="*/ 3536 h 5244"/>
                <a:gd name="T26" fmla="*/ 3031 w 3680"/>
                <a:gd name="T27" fmla="*/ 3405 h 5244"/>
                <a:gd name="T28" fmla="*/ 3281 w 3680"/>
                <a:gd name="T29" fmla="*/ 3311 h 5244"/>
                <a:gd name="T30" fmla="*/ 3479 w 3680"/>
                <a:gd name="T31" fmla="*/ 3166 h 5244"/>
                <a:gd name="T32" fmla="*/ 3663 w 3680"/>
                <a:gd name="T33" fmla="*/ 2875 h 5244"/>
                <a:gd name="T34" fmla="*/ 3582 w 3680"/>
                <a:gd name="T35" fmla="*/ 2665 h 5244"/>
                <a:gd name="T36" fmla="*/ 3633 w 3680"/>
                <a:gd name="T37" fmla="*/ 2411 h 5244"/>
                <a:gd name="T38" fmla="*/ 3652 w 3680"/>
                <a:gd name="T39" fmla="*/ 2132 h 5244"/>
                <a:gd name="T40" fmla="*/ 3574 w 3680"/>
                <a:gd name="T41" fmla="*/ 2018 h 5244"/>
                <a:gd name="T42" fmla="*/ 3376 w 3680"/>
                <a:gd name="T43" fmla="*/ 1881 h 5244"/>
                <a:gd name="T44" fmla="*/ 3162 w 3680"/>
                <a:gd name="T45" fmla="*/ 1877 h 5244"/>
                <a:gd name="T46" fmla="*/ 3112 w 3680"/>
                <a:gd name="T47" fmla="*/ 1670 h 5244"/>
                <a:gd name="T48" fmla="*/ 3075 w 3680"/>
                <a:gd name="T49" fmla="*/ 1409 h 5244"/>
                <a:gd name="T50" fmla="*/ 2994 w 3680"/>
                <a:gd name="T51" fmla="*/ 1096 h 5244"/>
                <a:gd name="T52" fmla="*/ 2892 w 3680"/>
                <a:gd name="T53" fmla="*/ 748 h 5244"/>
                <a:gd name="T54" fmla="*/ 2774 w 3680"/>
                <a:gd name="T55" fmla="*/ 490 h 5244"/>
                <a:gd name="T56" fmla="*/ 2645 w 3680"/>
                <a:gd name="T57" fmla="*/ 341 h 5244"/>
                <a:gd name="T58" fmla="*/ 2414 w 3680"/>
                <a:gd name="T59" fmla="*/ 0 h 5244"/>
                <a:gd name="T60" fmla="*/ 2194 w 3680"/>
                <a:gd name="T61" fmla="*/ 0 h 5244"/>
                <a:gd name="T62" fmla="*/ 1974 w 3680"/>
                <a:gd name="T63" fmla="*/ 131 h 5244"/>
                <a:gd name="T64" fmla="*/ 1666 w 3680"/>
                <a:gd name="T65" fmla="*/ 305 h 5244"/>
                <a:gd name="T66" fmla="*/ 1437 w 3680"/>
                <a:gd name="T67" fmla="*/ 539 h 5244"/>
                <a:gd name="T68" fmla="*/ 1221 w 3680"/>
                <a:gd name="T69" fmla="*/ 688 h 5244"/>
                <a:gd name="T70" fmla="*/ 999 w 3680"/>
                <a:gd name="T71" fmla="*/ 885 h 5244"/>
                <a:gd name="T72" fmla="*/ 893 w 3680"/>
                <a:gd name="T73" fmla="*/ 1112 h 5244"/>
                <a:gd name="T74" fmla="*/ 1098 w 3680"/>
                <a:gd name="T75" fmla="*/ 1383 h 5244"/>
                <a:gd name="T76" fmla="*/ 970 w 3680"/>
                <a:gd name="T77" fmla="*/ 1648 h 5244"/>
                <a:gd name="T78" fmla="*/ 838 w 3680"/>
                <a:gd name="T79" fmla="*/ 1877 h 5244"/>
                <a:gd name="T80" fmla="*/ 761 w 3680"/>
                <a:gd name="T81" fmla="*/ 2149 h 5244"/>
                <a:gd name="T82" fmla="*/ 751 w 3680"/>
                <a:gd name="T83" fmla="*/ 2520 h 5244"/>
                <a:gd name="T84" fmla="*/ 742 w 3680"/>
                <a:gd name="T85" fmla="*/ 2724 h 5244"/>
                <a:gd name="T86" fmla="*/ 793 w 3680"/>
                <a:gd name="T87" fmla="*/ 2922 h 5244"/>
                <a:gd name="T88" fmla="*/ 793 w 3680"/>
                <a:gd name="T89" fmla="*/ 3173 h 5244"/>
                <a:gd name="T90" fmla="*/ 708 w 3680"/>
                <a:gd name="T91" fmla="*/ 3414 h 5244"/>
                <a:gd name="T92" fmla="*/ 664 w 3680"/>
                <a:gd name="T93" fmla="*/ 3663 h 5244"/>
                <a:gd name="T94" fmla="*/ 478 w 3680"/>
                <a:gd name="T95" fmla="*/ 3924 h 5244"/>
                <a:gd name="T96" fmla="*/ 319 w 3680"/>
                <a:gd name="T97" fmla="*/ 4010 h 5244"/>
                <a:gd name="T98" fmla="*/ 209 w 3680"/>
                <a:gd name="T99" fmla="*/ 4202 h 5244"/>
                <a:gd name="T100" fmla="*/ 226 w 3680"/>
                <a:gd name="T101" fmla="*/ 4372 h 5244"/>
                <a:gd name="T102" fmla="*/ 146 w 3680"/>
                <a:gd name="T103" fmla="*/ 4551 h 5244"/>
                <a:gd name="T104" fmla="*/ 57 w 3680"/>
                <a:gd name="T105" fmla="*/ 4700 h 5244"/>
                <a:gd name="T106" fmla="*/ 15 w 3680"/>
                <a:gd name="T107" fmla="*/ 4856 h 5244"/>
                <a:gd name="T108" fmla="*/ 41 w 3680"/>
                <a:gd name="T109" fmla="*/ 5023 h 5244"/>
                <a:gd name="T110" fmla="*/ 186 w 3680"/>
                <a:gd name="T111" fmla="*/ 5146 h 5244"/>
                <a:gd name="T112" fmla="*/ 402 w 3680"/>
                <a:gd name="T113" fmla="*/ 5243 h 5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80" h="5244">
                  <a:moveTo>
                    <a:pt x="402" y="5243"/>
                  </a:moveTo>
                  <a:lnTo>
                    <a:pt x="483" y="5244"/>
                  </a:lnTo>
                  <a:lnTo>
                    <a:pt x="660" y="5145"/>
                  </a:lnTo>
                  <a:lnTo>
                    <a:pt x="705" y="5040"/>
                  </a:lnTo>
                  <a:lnTo>
                    <a:pt x="786" y="4903"/>
                  </a:lnTo>
                  <a:lnTo>
                    <a:pt x="875" y="4776"/>
                  </a:lnTo>
                  <a:lnTo>
                    <a:pt x="1049" y="4700"/>
                  </a:lnTo>
                  <a:lnTo>
                    <a:pt x="1178" y="4700"/>
                  </a:lnTo>
                  <a:lnTo>
                    <a:pt x="1299" y="4602"/>
                  </a:lnTo>
                  <a:lnTo>
                    <a:pt x="1437" y="4552"/>
                  </a:lnTo>
                  <a:lnTo>
                    <a:pt x="1567" y="4552"/>
                  </a:lnTo>
                  <a:lnTo>
                    <a:pt x="1653" y="4503"/>
                  </a:lnTo>
                  <a:lnTo>
                    <a:pt x="1784" y="4548"/>
                  </a:lnTo>
                  <a:lnTo>
                    <a:pt x="1888" y="4633"/>
                  </a:lnTo>
                  <a:lnTo>
                    <a:pt x="1977" y="4653"/>
                  </a:lnTo>
                  <a:lnTo>
                    <a:pt x="2084" y="4602"/>
                  </a:lnTo>
                  <a:lnTo>
                    <a:pt x="2127" y="4453"/>
                  </a:lnTo>
                  <a:lnTo>
                    <a:pt x="2170" y="4255"/>
                  </a:lnTo>
                  <a:lnTo>
                    <a:pt x="2214" y="4156"/>
                  </a:lnTo>
                  <a:lnTo>
                    <a:pt x="2300" y="4007"/>
                  </a:lnTo>
                  <a:lnTo>
                    <a:pt x="2371" y="3958"/>
                  </a:lnTo>
                  <a:lnTo>
                    <a:pt x="2476" y="3926"/>
                  </a:lnTo>
                  <a:lnTo>
                    <a:pt x="2580" y="3886"/>
                  </a:lnTo>
                  <a:lnTo>
                    <a:pt x="2731" y="3758"/>
                  </a:lnTo>
                  <a:lnTo>
                    <a:pt x="2745" y="3659"/>
                  </a:lnTo>
                  <a:lnTo>
                    <a:pt x="2804" y="3536"/>
                  </a:lnTo>
                  <a:lnTo>
                    <a:pt x="2914" y="3354"/>
                  </a:lnTo>
                  <a:lnTo>
                    <a:pt x="3031" y="3405"/>
                  </a:lnTo>
                  <a:lnTo>
                    <a:pt x="3141" y="3413"/>
                  </a:lnTo>
                  <a:lnTo>
                    <a:pt x="3281" y="3311"/>
                  </a:lnTo>
                  <a:lnTo>
                    <a:pt x="3376" y="3231"/>
                  </a:lnTo>
                  <a:lnTo>
                    <a:pt x="3479" y="3166"/>
                  </a:lnTo>
                  <a:lnTo>
                    <a:pt x="3633" y="3028"/>
                  </a:lnTo>
                  <a:lnTo>
                    <a:pt x="3663" y="2875"/>
                  </a:lnTo>
                  <a:lnTo>
                    <a:pt x="3604" y="2759"/>
                  </a:lnTo>
                  <a:lnTo>
                    <a:pt x="3582" y="2665"/>
                  </a:lnTo>
                  <a:lnTo>
                    <a:pt x="3637" y="2520"/>
                  </a:lnTo>
                  <a:lnTo>
                    <a:pt x="3633" y="2411"/>
                  </a:lnTo>
                  <a:lnTo>
                    <a:pt x="3680" y="2274"/>
                  </a:lnTo>
                  <a:lnTo>
                    <a:pt x="3652" y="2132"/>
                  </a:lnTo>
                  <a:lnTo>
                    <a:pt x="3619" y="2069"/>
                  </a:lnTo>
                  <a:lnTo>
                    <a:pt x="3574" y="2018"/>
                  </a:lnTo>
                  <a:lnTo>
                    <a:pt x="3501" y="1946"/>
                  </a:lnTo>
                  <a:lnTo>
                    <a:pt x="3376" y="1881"/>
                  </a:lnTo>
                  <a:lnTo>
                    <a:pt x="3249" y="1877"/>
                  </a:lnTo>
                  <a:lnTo>
                    <a:pt x="3162" y="1877"/>
                  </a:lnTo>
                  <a:lnTo>
                    <a:pt x="3105" y="1793"/>
                  </a:lnTo>
                  <a:lnTo>
                    <a:pt x="3112" y="1670"/>
                  </a:lnTo>
                  <a:lnTo>
                    <a:pt x="3090" y="1532"/>
                  </a:lnTo>
                  <a:lnTo>
                    <a:pt x="3075" y="1409"/>
                  </a:lnTo>
                  <a:lnTo>
                    <a:pt x="3031" y="1271"/>
                  </a:lnTo>
                  <a:lnTo>
                    <a:pt x="2994" y="1096"/>
                  </a:lnTo>
                  <a:lnTo>
                    <a:pt x="2943" y="857"/>
                  </a:lnTo>
                  <a:lnTo>
                    <a:pt x="2892" y="748"/>
                  </a:lnTo>
                  <a:lnTo>
                    <a:pt x="2817" y="638"/>
                  </a:lnTo>
                  <a:lnTo>
                    <a:pt x="2774" y="490"/>
                  </a:lnTo>
                  <a:lnTo>
                    <a:pt x="2664" y="443"/>
                  </a:lnTo>
                  <a:lnTo>
                    <a:pt x="2645" y="341"/>
                  </a:lnTo>
                  <a:lnTo>
                    <a:pt x="2517" y="182"/>
                  </a:lnTo>
                  <a:lnTo>
                    <a:pt x="2414" y="0"/>
                  </a:lnTo>
                  <a:lnTo>
                    <a:pt x="2297" y="0"/>
                  </a:lnTo>
                  <a:lnTo>
                    <a:pt x="2194" y="0"/>
                  </a:lnTo>
                  <a:lnTo>
                    <a:pt x="2047" y="29"/>
                  </a:lnTo>
                  <a:lnTo>
                    <a:pt x="1974" y="131"/>
                  </a:lnTo>
                  <a:lnTo>
                    <a:pt x="1915" y="247"/>
                  </a:lnTo>
                  <a:lnTo>
                    <a:pt x="1666" y="305"/>
                  </a:lnTo>
                  <a:lnTo>
                    <a:pt x="1519" y="385"/>
                  </a:lnTo>
                  <a:lnTo>
                    <a:pt x="1437" y="539"/>
                  </a:lnTo>
                  <a:lnTo>
                    <a:pt x="1351" y="638"/>
                  </a:lnTo>
                  <a:lnTo>
                    <a:pt x="1221" y="688"/>
                  </a:lnTo>
                  <a:lnTo>
                    <a:pt x="1135" y="787"/>
                  </a:lnTo>
                  <a:lnTo>
                    <a:pt x="999" y="885"/>
                  </a:lnTo>
                  <a:lnTo>
                    <a:pt x="936" y="999"/>
                  </a:lnTo>
                  <a:lnTo>
                    <a:pt x="893" y="1112"/>
                  </a:lnTo>
                  <a:lnTo>
                    <a:pt x="1007" y="1242"/>
                  </a:lnTo>
                  <a:lnTo>
                    <a:pt x="1098" y="1383"/>
                  </a:lnTo>
                  <a:lnTo>
                    <a:pt x="1050" y="1530"/>
                  </a:lnTo>
                  <a:lnTo>
                    <a:pt x="970" y="1648"/>
                  </a:lnTo>
                  <a:lnTo>
                    <a:pt x="879" y="1731"/>
                  </a:lnTo>
                  <a:lnTo>
                    <a:pt x="838" y="1877"/>
                  </a:lnTo>
                  <a:lnTo>
                    <a:pt x="771" y="2031"/>
                  </a:lnTo>
                  <a:lnTo>
                    <a:pt x="761" y="2149"/>
                  </a:lnTo>
                  <a:lnTo>
                    <a:pt x="777" y="2360"/>
                  </a:lnTo>
                  <a:lnTo>
                    <a:pt x="751" y="2520"/>
                  </a:lnTo>
                  <a:lnTo>
                    <a:pt x="750" y="2630"/>
                  </a:lnTo>
                  <a:lnTo>
                    <a:pt x="742" y="2724"/>
                  </a:lnTo>
                  <a:lnTo>
                    <a:pt x="785" y="2793"/>
                  </a:lnTo>
                  <a:lnTo>
                    <a:pt x="793" y="2922"/>
                  </a:lnTo>
                  <a:lnTo>
                    <a:pt x="777" y="3050"/>
                  </a:lnTo>
                  <a:lnTo>
                    <a:pt x="793" y="3173"/>
                  </a:lnTo>
                  <a:lnTo>
                    <a:pt x="750" y="3319"/>
                  </a:lnTo>
                  <a:lnTo>
                    <a:pt x="708" y="3414"/>
                  </a:lnTo>
                  <a:lnTo>
                    <a:pt x="705" y="3519"/>
                  </a:lnTo>
                  <a:lnTo>
                    <a:pt x="664" y="3663"/>
                  </a:lnTo>
                  <a:lnTo>
                    <a:pt x="574" y="3765"/>
                  </a:lnTo>
                  <a:lnTo>
                    <a:pt x="478" y="3924"/>
                  </a:lnTo>
                  <a:lnTo>
                    <a:pt x="396" y="3981"/>
                  </a:lnTo>
                  <a:lnTo>
                    <a:pt x="319" y="4010"/>
                  </a:lnTo>
                  <a:lnTo>
                    <a:pt x="221" y="4072"/>
                  </a:lnTo>
                  <a:lnTo>
                    <a:pt x="209" y="4202"/>
                  </a:lnTo>
                  <a:lnTo>
                    <a:pt x="246" y="4308"/>
                  </a:lnTo>
                  <a:lnTo>
                    <a:pt x="226" y="4372"/>
                  </a:lnTo>
                  <a:lnTo>
                    <a:pt x="191" y="4470"/>
                  </a:lnTo>
                  <a:lnTo>
                    <a:pt x="146" y="4551"/>
                  </a:lnTo>
                  <a:lnTo>
                    <a:pt x="75" y="4599"/>
                  </a:lnTo>
                  <a:lnTo>
                    <a:pt x="57" y="4700"/>
                  </a:lnTo>
                  <a:lnTo>
                    <a:pt x="49" y="4808"/>
                  </a:lnTo>
                  <a:lnTo>
                    <a:pt x="15" y="4856"/>
                  </a:lnTo>
                  <a:lnTo>
                    <a:pt x="0" y="4927"/>
                  </a:lnTo>
                  <a:lnTo>
                    <a:pt x="41" y="5023"/>
                  </a:lnTo>
                  <a:lnTo>
                    <a:pt x="139" y="5089"/>
                  </a:lnTo>
                  <a:lnTo>
                    <a:pt x="186" y="5146"/>
                  </a:lnTo>
                  <a:lnTo>
                    <a:pt x="270" y="5181"/>
                  </a:lnTo>
                  <a:lnTo>
                    <a:pt x="402" y="5243"/>
                  </a:lnTo>
                  <a:close/>
                </a:path>
              </a:pathLst>
            </a:custGeom>
            <a:grpFill/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102" name="圆角矩形 45">
              <a:extLst>
                <a:ext uri="{FF2B5EF4-FFF2-40B4-BE49-F238E27FC236}">
                  <a16:creationId xmlns:a16="http://schemas.microsoft.com/office/drawing/2014/main" id="{F944EE63-92C0-A618-54E9-03CE8B2849D9}"/>
                </a:ext>
              </a:extLst>
            </p:cNvPr>
            <p:cNvSpPr/>
            <p:nvPr/>
          </p:nvSpPr>
          <p:spPr>
            <a:xfrm>
              <a:off x="2508258" y="6074112"/>
              <a:ext cx="1582019" cy="422783"/>
            </a:xfrm>
            <a:prstGeom prst="roundRect">
              <a:avLst>
                <a:gd name="adj" fmla="val 50000"/>
              </a:avLst>
            </a:prstGeom>
            <a:solidFill>
              <a:srgbClr val="002060">
                <a:lumMod val="10000"/>
                <a:lumOff val="90000"/>
              </a:srgbClr>
            </a:solidFill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 lIns="0" tIns="45703" rIns="0" bIns="45703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Akwa</a:t>
              </a:r>
              <a:r>
                <a:rPr kumimoji="0" lang="en-US" altLang="zh-CN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 Ibom</a:t>
              </a:r>
            </a:p>
          </p:txBody>
        </p:sp>
        <p:cxnSp>
          <p:nvCxnSpPr>
            <p:cNvPr id="103" name="肘形连接符 130">
              <a:extLst>
                <a:ext uri="{FF2B5EF4-FFF2-40B4-BE49-F238E27FC236}">
                  <a16:creationId xmlns:a16="http://schemas.microsoft.com/office/drawing/2014/main" id="{56ADB17E-B907-19F0-8B1C-8B08E9BEAE42}"/>
                </a:ext>
              </a:extLst>
            </p:cNvPr>
            <p:cNvCxnSpPr>
              <a:cxnSpLocks/>
              <a:stCxn id="99" idx="42"/>
              <a:endCxn id="102" idx="0"/>
            </p:cNvCxnSpPr>
            <p:nvPr/>
          </p:nvCxnSpPr>
          <p:spPr>
            <a:xfrm flipH="1">
              <a:off x="3299269" y="5962996"/>
              <a:ext cx="991967" cy="111116"/>
            </a:xfrm>
            <a:prstGeom prst="bentConnector4">
              <a:avLst>
                <a:gd name="adj1" fmla="val 101116"/>
                <a:gd name="adj2" fmla="val 71274"/>
              </a:avLst>
            </a:prstGeom>
            <a:grpFill/>
            <a:ln w="9525">
              <a:solidFill>
                <a:srgbClr val="262626">
                  <a:lumMod val="90000"/>
                  <a:lumOff val="10000"/>
                </a:srgbClr>
              </a:solidFill>
              <a:prstDash val="sysDash"/>
              <a:miter lim="800000"/>
              <a:headEnd/>
              <a:tailEnd/>
            </a:ln>
          </p:spPr>
        </p:cxnSp>
        <p:cxnSp>
          <p:nvCxnSpPr>
            <p:cNvPr id="104" name="肘形连接符 130">
              <a:extLst>
                <a:ext uri="{FF2B5EF4-FFF2-40B4-BE49-F238E27FC236}">
                  <a16:creationId xmlns:a16="http://schemas.microsoft.com/office/drawing/2014/main" id="{16B10545-620D-2558-A15B-3B5A4DB99C5F}"/>
                </a:ext>
              </a:extLst>
            </p:cNvPr>
            <p:cNvCxnSpPr>
              <a:cxnSpLocks/>
              <a:stCxn id="100" idx="33"/>
              <a:endCxn id="107" idx="0"/>
            </p:cNvCxnSpPr>
            <p:nvPr/>
          </p:nvCxnSpPr>
          <p:spPr>
            <a:xfrm>
              <a:off x="4676120" y="5888437"/>
              <a:ext cx="2475865" cy="173580"/>
            </a:xfrm>
            <a:prstGeom prst="bentConnector2">
              <a:avLst/>
            </a:prstGeom>
            <a:grpFill/>
            <a:ln w="9525">
              <a:solidFill>
                <a:srgbClr val="002060"/>
              </a:solidFill>
              <a:prstDash val="sysDash"/>
              <a:miter lim="800000"/>
              <a:headEnd/>
              <a:tailEnd/>
            </a:ln>
          </p:spPr>
        </p:cxnSp>
        <p:cxnSp>
          <p:nvCxnSpPr>
            <p:cNvPr id="105" name="肘形连接符 130">
              <a:extLst>
                <a:ext uri="{FF2B5EF4-FFF2-40B4-BE49-F238E27FC236}">
                  <a16:creationId xmlns:a16="http://schemas.microsoft.com/office/drawing/2014/main" id="{D0AE659E-2CCD-F3CC-3CC4-4207B0AA6D07}"/>
                </a:ext>
              </a:extLst>
            </p:cNvPr>
            <p:cNvCxnSpPr>
              <a:cxnSpLocks/>
              <a:stCxn id="95" idx="33"/>
              <a:endCxn id="106" idx="1"/>
            </p:cNvCxnSpPr>
            <p:nvPr/>
          </p:nvCxnSpPr>
          <p:spPr>
            <a:xfrm flipV="1">
              <a:off x="4415695" y="3812384"/>
              <a:ext cx="2834173" cy="1200940"/>
            </a:xfrm>
            <a:prstGeom prst="bentConnector3">
              <a:avLst>
                <a:gd name="adj1" fmla="val -1483"/>
              </a:avLst>
            </a:prstGeom>
            <a:grpFill/>
            <a:ln w="9525">
              <a:solidFill>
                <a:srgbClr val="002060"/>
              </a:solidFill>
              <a:prstDash val="sysDash"/>
              <a:miter lim="800000"/>
              <a:headEnd/>
              <a:tailEnd/>
            </a:ln>
          </p:spPr>
        </p:cxnSp>
        <p:sp>
          <p:nvSpPr>
            <p:cNvPr id="106" name="圆角矩形 45">
              <a:extLst>
                <a:ext uri="{FF2B5EF4-FFF2-40B4-BE49-F238E27FC236}">
                  <a16:creationId xmlns:a16="http://schemas.microsoft.com/office/drawing/2014/main" id="{C5A85112-798F-84B6-1872-579C62998D68}"/>
                </a:ext>
              </a:extLst>
            </p:cNvPr>
            <p:cNvSpPr/>
            <p:nvPr/>
          </p:nvSpPr>
          <p:spPr>
            <a:xfrm>
              <a:off x="7249868" y="3600992"/>
              <a:ext cx="1582020" cy="422783"/>
            </a:xfrm>
            <a:prstGeom prst="roundRect">
              <a:avLst>
                <a:gd name="adj" fmla="val 50000"/>
              </a:avLst>
            </a:prstGeom>
            <a:solidFill>
              <a:srgbClr val="002060">
                <a:lumMod val="10000"/>
                <a:lumOff val="90000"/>
              </a:srgbClr>
            </a:solidFill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 lIns="0" tIns="45703" rIns="0" bIns="45703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Anambra</a:t>
              </a:r>
            </a:p>
          </p:txBody>
        </p:sp>
        <p:sp>
          <p:nvSpPr>
            <p:cNvPr id="107" name="圆角矩形 45">
              <a:extLst>
                <a:ext uri="{FF2B5EF4-FFF2-40B4-BE49-F238E27FC236}">
                  <a16:creationId xmlns:a16="http://schemas.microsoft.com/office/drawing/2014/main" id="{F3654BB5-3B8D-9680-A53C-693012D18490}"/>
                </a:ext>
              </a:extLst>
            </p:cNvPr>
            <p:cNvSpPr/>
            <p:nvPr/>
          </p:nvSpPr>
          <p:spPr>
            <a:xfrm>
              <a:off x="6360974" y="6062017"/>
              <a:ext cx="1582019" cy="422783"/>
            </a:xfrm>
            <a:prstGeom prst="roundRect">
              <a:avLst>
                <a:gd name="adj" fmla="val 50000"/>
              </a:avLst>
            </a:prstGeom>
            <a:solidFill>
              <a:srgbClr val="002060">
                <a:lumMod val="10000"/>
                <a:lumOff val="90000"/>
              </a:srgbClr>
            </a:solidFill>
            <a:ln w="19050" cmpd="sng">
              <a:solidFill>
                <a:srgbClr val="FFFFFF">
                  <a:lumMod val="85000"/>
                </a:srgbClr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 lIns="0" tIns="45703" rIns="0" bIns="45703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宋体" panose="02010600030101010101" pitchFamily="2" charset="-122"/>
                  <a:cs typeface="Arial" panose="020B0604020202020204" pitchFamily="34" charset="0"/>
                </a:rPr>
                <a:t>Rivers</a:t>
              </a:r>
            </a:p>
          </p:txBody>
        </p:sp>
      </p:grpSp>
      <p:sp>
        <p:nvSpPr>
          <p:cNvPr id="108" name="Speech Bubble: Rectangle 107">
            <a:extLst>
              <a:ext uri="{FF2B5EF4-FFF2-40B4-BE49-F238E27FC236}">
                <a16:creationId xmlns:a16="http://schemas.microsoft.com/office/drawing/2014/main" id="{C2359E5C-D87A-47BC-10EA-A5DBE8A28A4D}"/>
              </a:ext>
            </a:extLst>
          </p:cNvPr>
          <p:cNvSpPr/>
          <p:nvPr/>
        </p:nvSpPr>
        <p:spPr>
          <a:xfrm>
            <a:off x="8099467" y="2492626"/>
            <a:ext cx="1420564" cy="525605"/>
          </a:xfrm>
          <a:prstGeom prst="wedgeRectCallout">
            <a:avLst>
              <a:gd name="adj1" fmla="val -25298"/>
              <a:gd name="adj2" fmla="val 86084"/>
            </a:avLst>
          </a:prstGeom>
          <a:solidFill>
            <a:srgbClr val="339966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tional syphilis prevalence in ANC 0.7%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7757DD79-B99C-5496-0ACE-73EF5A35A74D}"/>
              </a:ext>
            </a:extLst>
          </p:cNvPr>
          <p:cNvSpPr txBox="1"/>
          <p:nvPr/>
        </p:nvSpPr>
        <p:spPr>
          <a:xfrm>
            <a:off x="9911301" y="3404153"/>
            <a:ext cx="219409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defTabSz="91440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nal syphilis prevalence 1.6%</a:t>
            </a:r>
          </a:p>
          <a:p>
            <a:pPr marL="171450" indent="-171450" algn="just" defTabSz="91440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 prevalence 2.4%</a:t>
            </a:r>
          </a:p>
          <a:p>
            <a:pPr marL="171450" indent="-171450" algn="just" defTabSz="91440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 across 10 HF (1 PHC, 1 secondary, 2 tertiary, 5 FBO, 1 PFP)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371CD26-92F7-3BBE-3FDB-AEB1744BC4FB}"/>
              </a:ext>
            </a:extLst>
          </p:cNvPr>
          <p:cNvSpPr txBox="1"/>
          <p:nvPr/>
        </p:nvSpPr>
        <p:spPr>
          <a:xfrm>
            <a:off x="7036938" y="5015720"/>
            <a:ext cx="224389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defTabSz="91440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nal syphilis prevalence 1.6%</a:t>
            </a:r>
          </a:p>
          <a:p>
            <a:pPr marL="171450" indent="-171450" algn="just" defTabSz="91440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 prevalence 4.6%</a:t>
            </a:r>
          </a:p>
          <a:p>
            <a:pPr marL="171450" indent="-171450" algn="just" defTabSz="91440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 across 10 HF (3 PHC, 4 secondary, 1 tertiary, 2 FBO)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37C5CF76-3ADF-075D-15FD-6ACBB38AEEB3}"/>
              </a:ext>
            </a:extLst>
          </p:cNvPr>
          <p:cNvSpPr txBox="1"/>
          <p:nvPr/>
        </p:nvSpPr>
        <p:spPr>
          <a:xfrm>
            <a:off x="9427569" y="5009510"/>
            <a:ext cx="25237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defTabSz="91440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nal syphilis prevalence 1.6%</a:t>
            </a:r>
          </a:p>
          <a:p>
            <a:pPr marL="171450" indent="-171450" algn="just" defTabSz="91440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 prevalence 3.8%</a:t>
            </a:r>
          </a:p>
          <a:p>
            <a:pPr marL="171450" indent="-171450" algn="just" defTabSz="914400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 across 11 HF (4 PHC, 1 secondary, 3 tertiary, 5 FBO, 1 PFP)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9FDE9E0-8BE1-CFB0-AE28-C27591B6C9B5}"/>
              </a:ext>
            </a:extLst>
          </p:cNvPr>
          <p:cNvSpPr/>
          <p:nvPr/>
        </p:nvSpPr>
        <p:spPr>
          <a:xfrm>
            <a:off x="6975171" y="1222467"/>
            <a:ext cx="5186946" cy="592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yphilis Prevalence was Higher in Three States Chosen for a Dual RDT Pilot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B77346F0-4F9A-FA2A-53B6-2CC769A836D7}"/>
              </a:ext>
            </a:extLst>
          </p:cNvPr>
          <p:cNvSpPr/>
          <p:nvPr/>
        </p:nvSpPr>
        <p:spPr>
          <a:xfrm>
            <a:off x="240632" y="1214883"/>
            <a:ext cx="6616431" cy="5926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yphilis Prevalence Among Pregnant Women Attending ANC by Zones and location</a:t>
            </a: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F97D9C51-F2A6-B7C8-0C3F-57A6D741AC27}"/>
              </a:ext>
            </a:extLst>
          </p:cNvPr>
          <p:cNvSpPr txBox="1"/>
          <p:nvPr/>
        </p:nvSpPr>
        <p:spPr>
          <a:xfrm>
            <a:off x="240632" y="6132188"/>
            <a:ext cx="61893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: HSS 2014, </a:t>
            </a:r>
            <a:r>
              <a:rPr lang="en-US" sz="1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MoH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Abuja, Nigeria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654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3D07A-5A62-603C-15EA-C5E44033F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3362" y="118159"/>
            <a:ext cx="10684640" cy="738489"/>
          </a:xfrm>
        </p:spPr>
        <p:txBody>
          <a:bodyPr>
            <a:normAutofit/>
          </a:bodyPr>
          <a:lstStyle/>
          <a:p>
            <a:r>
              <a:rPr lang="en-US" sz="2200" b="1" noProof="0" dirty="0">
                <a:latin typeface="Arial" panose="020B0604020202020204" pitchFamily="34" charset="0"/>
                <a:cs typeface="Arial" panose="020B0604020202020204" pitchFamily="34" charset="0"/>
              </a:rPr>
              <a:t>CHAI’s pilot demonstrated a pathway for introduction and scale up of dual HIV/syphilis RD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74E3ED8-54D3-DF16-B0FF-E69B0891E35A}"/>
              </a:ext>
            </a:extLst>
          </p:cNvPr>
          <p:cNvCxnSpPr>
            <a:cxnSpLocks/>
          </p:cNvCxnSpPr>
          <p:nvPr/>
        </p:nvCxnSpPr>
        <p:spPr>
          <a:xfrm flipV="1">
            <a:off x="1473362" y="788482"/>
            <a:ext cx="10642135" cy="42322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B11EE1C1-1E69-619D-5515-C20C0F6BB726}"/>
              </a:ext>
            </a:extLst>
          </p:cNvPr>
          <p:cNvSpPr/>
          <p:nvPr/>
        </p:nvSpPr>
        <p:spPr bwMode="auto">
          <a:xfrm>
            <a:off x="161492" y="1444394"/>
            <a:ext cx="277091" cy="274320"/>
          </a:xfrm>
          <a:prstGeom prst="ellipse">
            <a:avLst/>
          </a:prstGeom>
          <a:solidFill>
            <a:srgbClr val="284A8C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9440" tIns="49721" rIns="99440" bIns="4972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9B5F0C7-BEE2-B572-985D-ED6AEE39C5E2}"/>
              </a:ext>
            </a:extLst>
          </p:cNvPr>
          <p:cNvSpPr/>
          <p:nvPr/>
        </p:nvSpPr>
        <p:spPr bwMode="auto">
          <a:xfrm>
            <a:off x="133123" y="3358515"/>
            <a:ext cx="277091" cy="274320"/>
          </a:xfrm>
          <a:prstGeom prst="ellipse">
            <a:avLst/>
          </a:prstGeom>
          <a:solidFill>
            <a:srgbClr val="284A8C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9440" tIns="49721" rIns="99440" bIns="4972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EC61357-E54C-C19E-2CCC-75752F417507}"/>
              </a:ext>
            </a:extLst>
          </p:cNvPr>
          <p:cNvSpPr/>
          <p:nvPr/>
        </p:nvSpPr>
        <p:spPr bwMode="auto">
          <a:xfrm>
            <a:off x="138158" y="5220128"/>
            <a:ext cx="277091" cy="274320"/>
          </a:xfrm>
          <a:prstGeom prst="ellipse">
            <a:avLst/>
          </a:prstGeom>
          <a:solidFill>
            <a:srgbClr val="284A8C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9440" tIns="49721" rIns="99440" bIns="49721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81922D-7416-4526-1CA5-C330DF84EE73}"/>
              </a:ext>
            </a:extLst>
          </p:cNvPr>
          <p:cNvSpPr txBox="1"/>
          <p:nvPr/>
        </p:nvSpPr>
        <p:spPr>
          <a:xfrm>
            <a:off x="537287" y="1405788"/>
            <a:ext cx="56066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400" b="1" dirty="0">
                <a:solidFill>
                  <a:srgbClr val="284A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Relevant Policy Updates for Dual RDT Introductio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F05F5D-CBA9-4E0B-F781-9F230E22C018}"/>
              </a:ext>
            </a:extLst>
          </p:cNvPr>
          <p:cNvCxnSpPr>
            <a:cxnSpLocks/>
          </p:cNvCxnSpPr>
          <p:nvPr/>
        </p:nvCxnSpPr>
        <p:spPr>
          <a:xfrm flipH="1">
            <a:off x="6621882" y="1097280"/>
            <a:ext cx="10015" cy="5760720"/>
          </a:xfrm>
          <a:prstGeom prst="line">
            <a:avLst/>
          </a:prstGeom>
          <a:ln>
            <a:solidFill>
              <a:schemeClr val="bg2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E65A45E-9844-60E0-C9EB-8CAB39721F51}"/>
              </a:ext>
            </a:extLst>
          </p:cNvPr>
          <p:cNvSpPr/>
          <p:nvPr/>
        </p:nvSpPr>
        <p:spPr>
          <a:xfrm>
            <a:off x="7587825" y="1355081"/>
            <a:ext cx="4527672" cy="22761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A205E5-F446-A6A8-719A-53919BD53FF2}"/>
              </a:ext>
            </a:extLst>
          </p:cNvPr>
          <p:cNvSpPr/>
          <p:nvPr/>
        </p:nvSpPr>
        <p:spPr>
          <a:xfrm>
            <a:off x="6654885" y="1364707"/>
            <a:ext cx="916348" cy="2276161"/>
          </a:xfrm>
          <a:prstGeom prst="rect">
            <a:avLst/>
          </a:prstGeom>
          <a:solidFill>
            <a:srgbClr val="336699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UPPL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B6239DA-BB97-A66A-7653-A25B9E577E09}"/>
              </a:ext>
            </a:extLst>
          </p:cNvPr>
          <p:cNvSpPr/>
          <p:nvPr/>
        </p:nvSpPr>
        <p:spPr>
          <a:xfrm>
            <a:off x="6637092" y="3915054"/>
            <a:ext cx="1018675" cy="2621377"/>
          </a:xfrm>
          <a:prstGeom prst="rect">
            <a:avLst/>
          </a:prstGeom>
          <a:solidFill>
            <a:srgbClr val="336699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D40F0E-8C05-E882-38F9-45FB14382432}"/>
              </a:ext>
            </a:extLst>
          </p:cNvPr>
          <p:cNvSpPr/>
          <p:nvPr/>
        </p:nvSpPr>
        <p:spPr>
          <a:xfrm>
            <a:off x="7630330" y="3915054"/>
            <a:ext cx="4527672" cy="26213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 descr="Diagram&#10;&#10;Description automatically generated">
            <a:extLst>
              <a:ext uri="{FF2B5EF4-FFF2-40B4-BE49-F238E27FC236}">
                <a16:creationId xmlns:a16="http://schemas.microsoft.com/office/drawing/2014/main" id="{6D93CE82-84ED-00FB-3FD5-3D609272034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5" b="2160"/>
          <a:stretch/>
        </p:blipFill>
        <p:spPr>
          <a:xfrm>
            <a:off x="10590411" y="4587225"/>
            <a:ext cx="1487223" cy="1918918"/>
          </a:xfrm>
          <a:prstGeom prst="rect">
            <a:avLst/>
          </a:prstGeom>
        </p:spPr>
      </p:pic>
      <p:pic>
        <p:nvPicPr>
          <p:cNvPr id="23" name="Picture 22" descr="Diagram&#10;&#10;Description automatically generated">
            <a:extLst>
              <a:ext uri="{FF2B5EF4-FFF2-40B4-BE49-F238E27FC236}">
                <a16:creationId xmlns:a16="http://schemas.microsoft.com/office/drawing/2014/main" id="{82284E54-9702-BC9B-4AAD-59ADB2D464E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0235" y="4613837"/>
            <a:ext cx="1466029" cy="189230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F1933AC-77B0-2963-07D9-4F788F327274}"/>
              </a:ext>
            </a:extLst>
          </p:cNvPr>
          <p:cNvSpPr/>
          <p:nvPr/>
        </p:nvSpPr>
        <p:spPr>
          <a:xfrm>
            <a:off x="7642549" y="1575107"/>
            <a:ext cx="4426208" cy="18325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the global level, CHAI facilitated market shaping activities to attain dual HIV/syphilis RDT price reduction from initial $1.50 to &lt;$1.00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country, CHAI catalyzed market competition by deploying two brands of WHO prequalified dual RDTs in the pilot (SD </a:t>
            </a:r>
            <a:r>
              <a:rPr lang="en-US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line</a:t>
            </a:r>
            <a:r>
              <a:rPr 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Premier)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I procured 1,000 vials of BPG to ensure treatment availability during the pilot </a:t>
            </a:r>
          </a:p>
        </p:txBody>
      </p:sp>
      <p:pic>
        <p:nvPicPr>
          <p:cNvPr id="25" name="Picture 24" descr="Diagram&#10;&#10;Description automatically generated">
            <a:extLst>
              <a:ext uri="{FF2B5EF4-FFF2-40B4-BE49-F238E27FC236}">
                <a16:creationId xmlns:a16="http://schemas.microsoft.com/office/drawing/2014/main" id="{D8522CE0-53DC-68AE-EAA4-20C2F3C8BD8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359" y="4613837"/>
            <a:ext cx="1341847" cy="189230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5C1F40DA-DE87-EC58-4405-398E5A29415E}"/>
              </a:ext>
            </a:extLst>
          </p:cNvPr>
          <p:cNvSpPr/>
          <p:nvPr/>
        </p:nvSpPr>
        <p:spPr>
          <a:xfrm>
            <a:off x="7709914" y="3916844"/>
            <a:ext cx="4527672" cy="6791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I facilitated policy updates to incorporate the dual HIV/syphilis RDT use in ANC; STI Guidelines, HTS Guidelines, HIV Treatment Guidelin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797156B-DFA2-0DBA-0338-317DF9FBCCED}"/>
              </a:ext>
            </a:extLst>
          </p:cNvPr>
          <p:cNvSpPr txBox="1"/>
          <p:nvPr/>
        </p:nvSpPr>
        <p:spPr>
          <a:xfrm>
            <a:off x="305439" y="1905804"/>
            <a:ext cx="603760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HAI facilitated national HIV testing algorithm review for Dual RDT inclusion </a:t>
            </a:r>
          </a:p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National guidelines review and development of operational and training tools</a:t>
            </a:r>
          </a:p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veloped demand generation tool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91ED265-281F-07AD-988B-9EADF8C93A6C}"/>
              </a:ext>
            </a:extLst>
          </p:cNvPr>
          <p:cNvSpPr txBox="1"/>
          <p:nvPr/>
        </p:nvSpPr>
        <p:spPr>
          <a:xfrm>
            <a:off x="537287" y="3274382"/>
            <a:ext cx="58057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400" b="1" dirty="0">
                <a:solidFill>
                  <a:srgbClr val="284A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uct Pilot to Operationalize use of Dual RDT in ANC Settings 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EB12CE1-4163-59CB-D6A4-5CE1A140C98F}"/>
              </a:ext>
            </a:extLst>
          </p:cNvPr>
          <p:cNvCxnSpPr>
            <a:cxnSpLocks/>
          </p:cNvCxnSpPr>
          <p:nvPr/>
        </p:nvCxnSpPr>
        <p:spPr bwMode="auto">
          <a:xfrm>
            <a:off x="610899" y="3582159"/>
            <a:ext cx="5650029" cy="0"/>
          </a:xfrm>
          <a:prstGeom prst="line">
            <a:avLst/>
          </a:prstGeom>
          <a:solidFill>
            <a:srgbClr val="99CCFF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934CE2D-2D27-A454-B7EC-E1E3A5D155E8}"/>
              </a:ext>
            </a:extLst>
          </p:cNvPr>
          <p:cNvCxnSpPr>
            <a:cxnSpLocks/>
          </p:cNvCxnSpPr>
          <p:nvPr/>
        </p:nvCxnSpPr>
        <p:spPr bwMode="auto">
          <a:xfrm>
            <a:off x="610899" y="1776489"/>
            <a:ext cx="5650029" cy="0"/>
          </a:xfrm>
          <a:prstGeom prst="line">
            <a:avLst/>
          </a:prstGeom>
          <a:solidFill>
            <a:srgbClr val="99CCFF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4B954BD4-854F-2F1E-C6BC-7C0DDAA72C8F}"/>
              </a:ext>
            </a:extLst>
          </p:cNvPr>
          <p:cNvSpPr txBox="1"/>
          <p:nvPr/>
        </p:nvSpPr>
        <p:spPr>
          <a:xfrm>
            <a:off x="448214" y="3684874"/>
            <a:ext cx="603760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cured catalytic quantities of Dual RDT and BPG for pilot </a:t>
            </a:r>
          </a:p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nducted baseline assessment and site selection </a:t>
            </a:r>
          </a:p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rained HCW </a:t>
            </a:r>
          </a:p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oll out pilot and monitor implementation </a:t>
            </a:r>
          </a:p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nalyze data and document learnings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FF10D15-C15F-321E-C7DE-215E94EF67AD}"/>
              </a:ext>
            </a:extLst>
          </p:cNvPr>
          <p:cNvSpPr txBox="1"/>
          <p:nvPr/>
        </p:nvSpPr>
        <p:spPr>
          <a:xfrm>
            <a:off x="441521" y="5003690"/>
            <a:ext cx="58057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400" b="1" dirty="0">
                <a:solidFill>
                  <a:srgbClr val="284A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BPG Treatment Supply Security  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931BEDB1-D1A3-3139-C8C4-B0AE1D4E1627}"/>
              </a:ext>
            </a:extLst>
          </p:cNvPr>
          <p:cNvCxnSpPr>
            <a:cxnSpLocks/>
          </p:cNvCxnSpPr>
          <p:nvPr/>
        </p:nvCxnSpPr>
        <p:spPr bwMode="auto">
          <a:xfrm>
            <a:off x="504314" y="5311467"/>
            <a:ext cx="5650029" cy="0"/>
          </a:xfrm>
          <a:prstGeom prst="line">
            <a:avLst/>
          </a:prstGeom>
          <a:solidFill>
            <a:srgbClr val="99CCFF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6DF2A1E7-1D7F-9F06-B4CA-ED9AE3D73503}"/>
              </a:ext>
            </a:extLst>
          </p:cNvPr>
          <p:cNvSpPr txBox="1"/>
          <p:nvPr/>
        </p:nvSpPr>
        <p:spPr>
          <a:xfrm>
            <a:off x="166544" y="5427773"/>
            <a:ext cx="60376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enerate market intelligence and ensure open market availability of BPG </a:t>
            </a:r>
          </a:p>
          <a:p>
            <a:pPr marL="285750" indent="-285750" algn="l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nsure inclusion of BPG in national HIV program central procurement cycle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30DC186-8432-7DA5-10F6-822499966323}"/>
              </a:ext>
            </a:extLst>
          </p:cNvPr>
          <p:cNvSpPr/>
          <p:nvPr/>
        </p:nvSpPr>
        <p:spPr>
          <a:xfrm>
            <a:off x="305438" y="6381879"/>
            <a:ext cx="6331653" cy="400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4157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06DCD5-795B-0512-DD33-C4904E7264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994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6516582F-C64E-228A-9B21-C755E61590A3}"/>
              </a:ext>
            </a:extLst>
          </p:cNvPr>
          <p:cNvSpPr/>
          <p:nvPr/>
        </p:nvSpPr>
        <p:spPr>
          <a:xfrm>
            <a:off x="354418" y="1398375"/>
            <a:ext cx="2169707" cy="490717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7F95A3A9-A95B-484E-2CA9-24787A4AAD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24987"/>
              </p:ext>
            </p:extLst>
          </p:nvPr>
        </p:nvGraphicFramePr>
        <p:xfrm>
          <a:off x="3019425" y="1416473"/>
          <a:ext cx="8948566" cy="4907178"/>
        </p:xfrm>
        <a:graphic>
          <a:graphicData uri="http://schemas.openxmlformats.org/drawingml/2006/table">
            <a:tbl>
              <a:tblPr firstRow="1" firstCol="1" bandRow="1"/>
              <a:tblGrid>
                <a:gridCol w="582381">
                  <a:extLst>
                    <a:ext uri="{9D8B030D-6E8A-4147-A177-3AD203B41FA5}">
                      <a16:colId xmlns:a16="http://schemas.microsoft.com/office/drawing/2014/main" val="13115121"/>
                    </a:ext>
                  </a:extLst>
                </a:gridCol>
                <a:gridCol w="3278760">
                  <a:extLst>
                    <a:ext uri="{9D8B030D-6E8A-4147-A177-3AD203B41FA5}">
                      <a16:colId xmlns:a16="http://schemas.microsoft.com/office/drawing/2014/main" val="2445497042"/>
                    </a:ext>
                  </a:extLst>
                </a:gridCol>
                <a:gridCol w="1266047">
                  <a:extLst>
                    <a:ext uri="{9D8B030D-6E8A-4147-A177-3AD203B41FA5}">
                      <a16:colId xmlns:a16="http://schemas.microsoft.com/office/drawing/2014/main" val="1228717149"/>
                    </a:ext>
                  </a:extLst>
                </a:gridCol>
                <a:gridCol w="1297158">
                  <a:extLst>
                    <a:ext uri="{9D8B030D-6E8A-4147-A177-3AD203B41FA5}">
                      <a16:colId xmlns:a16="http://schemas.microsoft.com/office/drawing/2014/main" val="2910629782"/>
                    </a:ext>
                  </a:extLst>
                </a:gridCol>
                <a:gridCol w="1484936">
                  <a:extLst>
                    <a:ext uri="{9D8B030D-6E8A-4147-A177-3AD203B41FA5}">
                      <a16:colId xmlns:a16="http://schemas.microsoft.com/office/drawing/2014/main" val="1249461581"/>
                    </a:ext>
                  </a:extLst>
                </a:gridCol>
                <a:gridCol w="1039284">
                  <a:extLst>
                    <a:ext uri="{9D8B030D-6E8A-4147-A177-3AD203B41FA5}">
                      <a16:colId xmlns:a16="http://schemas.microsoft.com/office/drawing/2014/main" val="873100837"/>
                    </a:ext>
                  </a:extLst>
                </a:gridCol>
              </a:tblGrid>
              <a:tr h="56567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NO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DICATOR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IVERS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AMBRA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KWA IBOM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067323"/>
                  </a:ext>
                </a:extLst>
              </a:tr>
              <a:tr h="665855"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mber of pregnant women tested for HIV/syphilis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,382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,369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,662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5,413</a:t>
                      </a:r>
                      <a:endParaRPr lang="en-US" sz="14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6636113"/>
                  </a:ext>
                </a:extLst>
              </a:tr>
              <a:tr h="665855"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mber of pregnant women who tested positive for Syphilis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9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6</a:t>
                      </a:r>
                      <a:endParaRPr lang="en-US" sz="14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6596444"/>
                  </a:ext>
                </a:extLst>
              </a:tr>
              <a:tr h="1012230"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mber of pregnant women who tested positive for Syphilis and received treatment with BPG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1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9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9</a:t>
                      </a:r>
                      <a:endParaRPr lang="en-US" sz="14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22807"/>
                  </a:ext>
                </a:extLst>
              </a:tr>
              <a:tr h="665855"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mber of partner(s) of syphilis positive PW tested with dual RDT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4</a:t>
                      </a:r>
                      <a:endParaRPr lang="en-US" sz="1400" b="1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39498"/>
                  </a:ext>
                </a:extLst>
              </a:tr>
              <a:tr h="665855"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mber of partner(s) of syphilis positive PW positive for syphilis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en-US" sz="14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355052"/>
                  </a:ext>
                </a:extLst>
              </a:tr>
              <a:tr h="665855"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umber of syphilis positive partner(s) of PW treated with BPG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en-US" sz="14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en-US" sz="14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 (Body CS)"/>
                      </a:endParaRPr>
                    </a:p>
                  </a:txBody>
                  <a:tcPr marL="66767" marR="667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5819090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143EDEFC-B08B-55CB-1A57-7BA0D4040A37}"/>
              </a:ext>
            </a:extLst>
          </p:cNvPr>
          <p:cNvSpPr txBox="1"/>
          <p:nvPr/>
        </p:nvSpPr>
        <p:spPr>
          <a:xfrm>
            <a:off x="873853" y="1701039"/>
            <a:ext cx="1014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,43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38032C-D5A0-22BE-39E7-7F62FF621ED7}"/>
              </a:ext>
            </a:extLst>
          </p:cNvPr>
          <p:cNvSpPr/>
          <p:nvPr/>
        </p:nvSpPr>
        <p:spPr>
          <a:xfrm>
            <a:off x="440143" y="2084315"/>
            <a:ext cx="1988732" cy="586447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 pregnant women attending ANC in the 31 pilot sites tested for HIV/syphili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E8B0E8D-F6EF-16F4-04FA-62F46ADE2A65}"/>
              </a:ext>
            </a:extLst>
          </p:cNvPr>
          <p:cNvSpPr/>
          <p:nvPr/>
        </p:nvSpPr>
        <p:spPr>
          <a:xfrm>
            <a:off x="440143" y="3139178"/>
            <a:ext cx="1988732" cy="586447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philis positivity rate among PW tested during the pilo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45B2F97-92E1-6BD6-8595-4F7DCC09EB49}"/>
              </a:ext>
            </a:extLst>
          </p:cNvPr>
          <p:cNvSpPr/>
          <p:nvPr/>
        </p:nvSpPr>
        <p:spPr>
          <a:xfrm>
            <a:off x="440143" y="4257682"/>
            <a:ext cx="1988732" cy="586447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centage of syphilis positive pregnant women treated with BP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167C25E-2DA7-2A4E-B478-8C2F491D2423}"/>
              </a:ext>
            </a:extLst>
          </p:cNvPr>
          <p:cNvSpPr/>
          <p:nvPr/>
        </p:nvSpPr>
        <p:spPr>
          <a:xfrm>
            <a:off x="440143" y="5351988"/>
            <a:ext cx="1988732" cy="586447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tners of syphilis positive pregnant women who were tested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03D9D3-3324-C2A8-AA44-FACDA5D9FD63}"/>
              </a:ext>
            </a:extLst>
          </p:cNvPr>
          <p:cNvSpPr txBox="1"/>
          <p:nvPr/>
        </p:nvSpPr>
        <p:spPr>
          <a:xfrm>
            <a:off x="931710" y="2752558"/>
            <a:ext cx="1014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2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83B84A-9DCD-EB5E-52C0-C85EB90D4FA1}"/>
              </a:ext>
            </a:extLst>
          </p:cNvPr>
          <p:cNvSpPr txBox="1"/>
          <p:nvPr/>
        </p:nvSpPr>
        <p:spPr>
          <a:xfrm>
            <a:off x="955027" y="3870062"/>
            <a:ext cx="1014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2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74FE105-9188-4BD2-5F38-E389B82FD03B}"/>
              </a:ext>
            </a:extLst>
          </p:cNvPr>
          <p:cNvSpPr txBox="1"/>
          <p:nvPr/>
        </p:nvSpPr>
        <p:spPr>
          <a:xfrm>
            <a:off x="870144" y="4962164"/>
            <a:ext cx="1014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%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8FD432D2-A6F6-D8B3-F6AF-BBB318F90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360" y="77355"/>
            <a:ext cx="10447217" cy="738489"/>
          </a:xfrm>
        </p:spPr>
        <p:txBody>
          <a:bodyPr vert="horz">
            <a:norm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esults from the pilot indicated high uptake and acceptability of Dual HIV/syphilis RDTs </a:t>
            </a:r>
            <a:endParaRPr lang="en-US" sz="2200" b="1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1C9B771-D695-3136-28AA-3320D522C98F}"/>
              </a:ext>
            </a:extLst>
          </p:cNvPr>
          <p:cNvCxnSpPr>
            <a:cxnSpLocks/>
          </p:cNvCxnSpPr>
          <p:nvPr/>
        </p:nvCxnSpPr>
        <p:spPr>
          <a:xfrm>
            <a:off x="2136809" y="856651"/>
            <a:ext cx="10035941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87389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E5A371-6C94-1AE0-32D4-9147C6FDC9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1208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C19FB891-8608-3C9D-CE47-59545B4B7C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1449721"/>
              </p:ext>
            </p:extLst>
          </p:nvPr>
        </p:nvGraphicFramePr>
        <p:xfrm>
          <a:off x="6968694" y="1766411"/>
          <a:ext cx="5044859" cy="2913782"/>
        </p:xfrm>
        <a:graphic>
          <a:graphicData uri="http://schemas.openxmlformats.org/drawingml/2006/table">
            <a:tbl>
              <a:tblPr firstRow="1" bandRow="1"/>
              <a:tblGrid>
                <a:gridCol w="1811954">
                  <a:extLst>
                    <a:ext uri="{9D8B030D-6E8A-4147-A177-3AD203B41FA5}">
                      <a16:colId xmlns:a16="http://schemas.microsoft.com/office/drawing/2014/main" val="225120112"/>
                    </a:ext>
                  </a:extLst>
                </a:gridCol>
                <a:gridCol w="1551285">
                  <a:extLst>
                    <a:ext uri="{9D8B030D-6E8A-4147-A177-3AD203B41FA5}">
                      <a16:colId xmlns:a16="http://schemas.microsoft.com/office/drawing/2014/main" val="2418331030"/>
                    </a:ext>
                  </a:extLst>
                </a:gridCol>
                <a:gridCol w="1681620">
                  <a:extLst>
                    <a:ext uri="{9D8B030D-6E8A-4147-A177-3AD203B41FA5}">
                      <a16:colId xmlns:a16="http://schemas.microsoft.com/office/drawing/2014/main" val="1236993837"/>
                    </a:ext>
                  </a:extLst>
                </a:gridCol>
              </a:tblGrid>
              <a:tr h="4225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7742491"/>
                  </a:ext>
                </a:extLst>
              </a:tr>
              <a:tr h="5349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3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ional PW testing targe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067,4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733,6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8458109"/>
                  </a:ext>
                </a:extLst>
              </a:tr>
              <a:tr h="6641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endParaRPr lang="en-US" sz="13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26,9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03,5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701104"/>
                  </a:ext>
                </a:extLst>
              </a:tr>
              <a:tr h="4469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3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N</a:t>
                      </a:r>
                      <a:r>
                        <a:rPr lang="en-US" sz="13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mmit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3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00,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/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8272753"/>
                  </a:ext>
                </a:extLst>
              </a:tr>
              <a:tr h="422583">
                <a:tc>
                  <a:txBody>
                    <a:bodyPr/>
                    <a:lstStyle/>
                    <a:p>
                      <a:pPr algn="l"/>
                      <a:endParaRPr lang="en-US" sz="13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5,76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3,4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781819"/>
                  </a:ext>
                </a:extLst>
              </a:tr>
              <a:tr h="422583">
                <a:tc>
                  <a:txBody>
                    <a:bodyPr/>
                    <a:lstStyle/>
                    <a:p>
                      <a:pPr algn="l"/>
                      <a:r>
                        <a:rPr lang="en-US" sz="13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nding G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4,6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,836,7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8264479"/>
                  </a:ext>
                </a:extLst>
              </a:tr>
            </a:tbl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2C77D822-40F4-92E0-A764-8E3DF5776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2112" y="115855"/>
            <a:ext cx="10447217" cy="738489"/>
          </a:xfrm>
        </p:spPr>
        <p:txBody>
          <a:bodyPr vert="horz">
            <a:normAutofit/>
          </a:bodyPr>
          <a:lstStyle/>
          <a:p>
            <a:r>
              <a:rPr lang="en-US" sz="2200" b="1" noProof="0" dirty="0">
                <a:latin typeface="Arial" panose="020B0604020202020204" pitchFamily="34" charset="0"/>
                <a:cs typeface="Arial" panose="020B0604020202020204" pitchFamily="34" charset="0"/>
              </a:rPr>
              <a:t>Following successes of the pilot, NASCP is scaling up Dual HIV/syphilis </a:t>
            </a:r>
            <a:br>
              <a:rPr lang="en-US" sz="2200" b="1" noProof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200" b="1" noProof="0" dirty="0">
                <a:latin typeface="Arial" panose="020B0604020202020204" pitchFamily="34" charset="0"/>
                <a:cs typeface="Arial" panose="020B0604020202020204" pitchFamily="34" charset="0"/>
              </a:rPr>
              <a:t>RDT use to reach all Pregnant Women in Nigeria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7BD6D-B9CE-7975-B14A-0D55BBA0BBCD}"/>
              </a:ext>
            </a:extLst>
          </p:cNvPr>
          <p:cNvCxnSpPr>
            <a:cxnSpLocks/>
          </p:cNvCxnSpPr>
          <p:nvPr/>
        </p:nvCxnSpPr>
        <p:spPr>
          <a:xfrm>
            <a:off x="2136809" y="933651"/>
            <a:ext cx="10035941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6BDD1A4B-3806-E845-01B4-0427C3FAE2A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t="41078" r="651" b="42763"/>
          <a:stretch/>
        </p:blipFill>
        <p:spPr>
          <a:xfrm>
            <a:off x="6977014" y="3936733"/>
            <a:ext cx="1529136" cy="248712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BF913F3-69D8-F848-A9DB-9ED706EDC803}"/>
              </a:ext>
            </a:extLst>
          </p:cNvPr>
          <p:cNvCxnSpPr>
            <a:cxnSpLocks/>
          </p:cNvCxnSpPr>
          <p:nvPr/>
        </p:nvCxnSpPr>
        <p:spPr>
          <a:xfrm>
            <a:off x="505956" y="1744063"/>
            <a:ext cx="5817842" cy="0"/>
          </a:xfrm>
          <a:prstGeom prst="line">
            <a:avLst/>
          </a:prstGeom>
          <a:ln w="19050">
            <a:solidFill>
              <a:srgbClr val="003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E6727321-8A71-7B54-722B-1E69E9DB77AF}"/>
              </a:ext>
            </a:extLst>
          </p:cNvPr>
          <p:cNvSpPr/>
          <p:nvPr/>
        </p:nvSpPr>
        <p:spPr>
          <a:xfrm>
            <a:off x="289514" y="1813802"/>
            <a:ext cx="614337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nnual forecast of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5million dual RDT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ver the next five year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GoN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procured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5million dual RDT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 Q4 2021 for use in 2022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EPFAR is procuring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≥1.6million Dual RDT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in 2022 and 202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DB4B1A-8BED-7171-6A95-E541D6943007}"/>
              </a:ext>
            </a:extLst>
          </p:cNvPr>
          <p:cNvSpPr txBox="1"/>
          <p:nvPr/>
        </p:nvSpPr>
        <p:spPr>
          <a:xfrm>
            <a:off x="254221" y="1384765"/>
            <a:ext cx="61786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284A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HIV Commodities Quantification &amp; Supply Plan (2021 – 2026)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337B6C-A14F-850B-2FED-A526DAD1EE99}"/>
              </a:ext>
            </a:extLst>
          </p:cNvPr>
          <p:cNvCxnSpPr>
            <a:cxnSpLocks/>
          </p:cNvCxnSpPr>
          <p:nvPr/>
        </p:nvCxnSpPr>
        <p:spPr>
          <a:xfrm>
            <a:off x="254221" y="3396499"/>
            <a:ext cx="6294166" cy="0"/>
          </a:xfrm>
          <a:prstGeom prst="line">
            <a:avLst/>
          </a:prstGeom>
          <a:ln w="19050">
            <a:solidFill>
              <a:srgbClr val="003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C0AC795-6270-89B0-6F2D-E7D6E3B215A5}"/>
              </a:ext>
            </a:extLst>
          </p:cNvPr>
          <p:cNvSpPr txBox="1"/>
          <p:nvPr/>
        </p:nvSpPr>
        <p:spPr>
          <a:xfrm>
            <a:off x="254221" y="3009414"/>
            <a:ext cx="4914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284A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Policies and Scale Up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1689F4-145C-86E3-C43F-BB5678780E25}"/>
              </a:ext>
            </a:extLst>
          </p:cNvPr>
          <p:cNvSpPr/>
          <p:nvPr/>
        </p:nvSpPr>
        <p:spPr>
          <a:xfrm>
            <a:off x="289514" y="3429000"/>
            <a:ext cx="6461008" cy="2753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30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strategy for testing pregnant women based on provision of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/Syphilis Dual Rapid Tests, therefore, 100% Syphilis testing coverage expected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mong HIV pregnant women</a:t>
            </a:r>
          </a:p>
          <a:p>
            <a:pPr marL="285750" indent="-285750" algn="just">
              <a:lnSpc>
                <a:spcPct val="150000"/>
              </a:lnSpc>
              <a:spcAft>
                <a:spcPts val="30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 and Syphilis testing should be offered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o pregnant women seeking antenatal care in all settings </a:t>
            </a:r>
          </a:p>
          <a:p>
            <a:pPr marL="742950" lvl="1" indent="-285750" algn="just">
              <a:lnSpc>
                <a:spcPct val="150000"/>
              </a:lnSpc>
              <a:spcAft>
                <a:spcPts val="300"/>
              </a:spcAft>
              <a:buClr>
                <a:srgbClr val="002060"/>
              </a:buClr>
              <a:buFont typeface="Calibri" panose="020F0502020204030204" pitchFamily="34" charset="0"/>
              <a:buChar char="-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creased proportion of PW tested for HIV from 67% to 95% by 2022</a:t>
            </a:r>
          </a:p>
          <a:p>
            <a:pPr marL="742950" lvl="1" indent="-285750" algn="just">
              <a:lnSpc>
                <a:spcPct val="150000"/>
              </a:lnSpc>
              <a:spcAft>
                <a:spcPts val="300"/>
              </a:spcAft>
              <a:buClr>
                <a:srgbClr val="002060"/>
              </a:buClr>
              <a:buFont typeface="Calibri" panose="020F0502020204030204" pitchFamily="34" charset="0"/>
              <a:buChar char="-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creased proportion of PW tested for syphilis from 10% to 60% by 2026 in line with NSP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060B377-E374-15AC-C70B-DF682BCE738F}"/>
              </a:ext>
            </a:extLst>
          </p:cNvPr>
          <p:cNvSpPr txBox="1"/>
          <p:nvPr/>
        </p:nvSpPr>
        <p:spPr>
          <a:xfrm>
            <a:off x="6981504" y="1356094"/>
            <a:ext cx="51431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284A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Dual HIV/Syphilis RDT Quantification ‘22 – ‘23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489E415-9772-BB31-71F7-786201E0D291}"/>
              </a:ext>
            </a:extLst>
          </p:cNvPr>
          <p:cNvCxnSpPr>
            <a:cxnSpLocks/>
          </p:cNvCxnSpPr>
          <p:nvPr/>
        </p:nvCxnSpPr>
        <p:spPr>
          <a:xfrm>
            <a:off x="6857627" y="1715141"/>
            <a:ext cx="5266995" cy="0"/>
          </a:xfrm>
          <a:prstGeom prst="line">
            <a:avLst/>
          </a:prstGeom>
          <a:ln w="19050">
            <a:solidFill>
              <a:srgbClr val="003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443C76E-353B-3C9E-560A-0E0CE9D728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81504" y="2749405"/>
            <a:ext cx="1264941" cy="60328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CA969BF-9214-C745-0D75-3483E9AA2B7C}"/>
              </a:ext>
            </a:extLst>
          </p:cNvPr>
          <p:cNvSpPr/>
          <p:nvPr/>
        </p:nvSpPr>
        <p:spPr>
          <a:xfrm>
            <a:off x="6968694" y="5142859"/>
            <a:ext cx="5044859" cy="10392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GoN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expected to procure similar Dual RDT volumes in 2023 to help address the gap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0D2C9865-98D5-362F-333F-3BEE4A19C949}"/>
              </a:ext>
            </a:extLst>
          </p:cNvPr>
          <p:cNvSpPr/>
          <p:nvPr/>
        </p:nvSpPr>
        <p:spPr>
          <a:xfrm>
            <a:off x="7516117" y="4822580"/>
            <a:ext cx="4073892" cy="17789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967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A52D30-30EA-5E0B-9FCF-F4790705CA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A52D30-30EA-5E0B-9FCF-F4790705C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F3D07A-5A62-603C-15EA-C5E44033F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569" y="118159"/>
            <a:ext cx="10684640" cy="738489"/>
          </a:xfrm>
        </p:spPr>
        <p:txBody>
          <a:bodyPr vert="horz">
            <a:normAutofit/>
          </a:bodyPr>
          <a:lstStyle/>
          <a:p>
            <a:r>
              <a:rPr lang="en-US" sz="2200" b="1" noProof="0" dirty="0">
                <a:latin typeface="Arial" panose="020B0604020202020204" pitchFamily="34" charset="0"/>
                <a:cs typeface="Arial" panose="020B0604020202020204" pitchFamily="34" charset="0"/>
              </a:rPr>
              <a:t>Evidence from Nigeria and other early adopter countries have led to growing momentum for Dual HIV/syphilis RDT scale up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74E3ED8-54D3-DF16-B0FF-E69B0891E35A}"/>
              </a:ext>
            </a:extLst>
          </p:cNvPr>
          <p:cNvCxnSpPr>
            <a:cxnSpLocks/>
          </p:cNvCxnSpPr>
          <p:nvPr/>
        </p:nvCxnSpPr>
        <p:spPr>
          <a:xfrm>
            <a:off x="1366918" y="933651"/>
            <a:ext cx="10805832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93101FC-300E-D1C7-A8A2-1E2FB6878DAA}"/>
              </a:ext>
            </a:extLst>
          </p:cNvPr>
          <p:cNvCxnSpPr/>
          <p:nvPr/>
        </p:nvCxnSpPr>
        <p:spPr>
          <a:xfrm>
            <a:off x="0" y="6448926"/>
            <a:ext cx="1217275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EB24ADF0-3AD0-AF70-9653-86D3B95C2A34}"/>
              </a:ext>
            </a:extLst>
          </p:cNvPr>
          <p:cNvSpPr/>
          <p:nvPr/>
        </p:nvSpPr>
        <p:spPr>
          <a:xfrm>
            <a:off x="1284121" y="5004358"/>
            <a:ext cx="6536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GB" sz="1600" b="1" kern="0" dirty="0">
                <a:solidFill>
                  <a:srgbClr val="000000"/>
                </a:solidFill>
                <a:latin typeface="Calibri"/>
              </a:rPr>
              <a:t>N=47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17B506B-9DDB-0DDA-0C7A-6C52C3E16887}"/>
              </a:ext>
            </a:extLst>
          </p:cNvPr>
          <p:cNvSpPr/>
          <p:nvPr/>
        </p:nvSpPr>
        <p:spPr>
          <a:xfrm>
            <a:off x="3111738" y="5024829"/>
            <a:ext cx="6536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GB" sz="1600" b="1" kern="0" dirty="0">
                <a:solidFill>
                  <a:srgbClr val="000000"/>
                </a:solidFill>
                <a:latin typeface="Calibri"/>
              </a:rPr>
              <a:t>N=35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E1BE43DC-8C97-2D22-92C5-9F0AC9EDB654}"/>
              </a:ext>
            </a:extLst>
          </p:cNvPr>
          <p:cNvSpPr/>
          <p:nvPr/>
        </p:nvSpPr>
        <p:spPr>
          <a:xfrm>
            <a:off x="5025815" y="5104839"/>
            <a:ext cx="6536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GB" sz="1600" b="1" kern="0" dirty="0">
                <a:solidFill>
                  <a:srgbClr val="000000"/>
                </a:solidFill>
                <a:latin typeface="Calibri"/>
              </a:rPr>
              <a:t>N=21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DBF038A-3896-8D15-D0C7-3C35699DE391}"/>
              </a:ext>
            </a:extLst>
          </p:cNvPr>
          <p:cNvSpPr/>
          <p:nvPr/>
        </p:nvSpPr>
        <p:spPr>
          <a:xfrm>
            <a:off x="6887246" y="5104839"/>
            <a:ext cx="6536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GB" sz="1600" b="1" kern="0" dirty="0">
                <a:solidFill>
                  <a:srgbClr val="000000"/>
                </a:solidFill>
                <a:latin typeface="Calibri"/>
              </a:rPr>
              <a:t>N=53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46750F8-4EE0-E17C-35F1-35092E5B935B}"/>
              </a:ext>
            </a:extLst>
          </p:cNvPr>
          <p:cNvSpPr/>
          <p:nvPr/>
        </p:nvSpPr>
        <p:spPr>
          <a:xfrm>
            <a:off x="8717254" y="5166523"/>
            <a:ext cx="6536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n-GB" sz="1600" b="1" kern="0" dirty="0">
                <a:solidFill>
                  <a:srgbClr val="000000"/>
                </a:solidFill>
                <a:latin typeface="Calibri"/>
              </a:rPr>
              <a:t>N=11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8CE521F-CBBF-8E5B-94CA-EBB7336F94BF}"/>
              </a:ext>
            </a:extLst>
          </p:cNvPr>
          <p:cNvSpPr/>
          <p:nvPr/>
        </p:nvSpPr>
        <p:spPr>
          <a:xfrm>
            <a:off x="10572750" y="5159085"/>
            <a:ext cx="6536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GB" sz="1600" b="1" kern="0" dirty="0">
                <a:solidFill>
                  <a:srgbClr val="000000"/>
                </a:solidFill>
                <a:latin typeface="Calibri"/>
              </a:rPr>
              <a:t>N=26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4F4A4B5-5E14-A005-E415-653CB903C412}"/>
              </a:ext>
            </a:extLst>
          </p:cNvPr>
          <p:cNvSpPr/>
          <p:nvPr/>
        </p:nvSpPr>
        <p:spPr>
          <a:xfrm>
            <a:off x="198821" y="4889365"/>
            <a:ext cx="896554" cy="52322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algn="just" defTabSz="914400">
              <a:defRPr/>
            </a:pPr>
            <a:r>
              <a:rPr lang="en-GB" sz="1400" b="1" u="sng" kern="0" dirty="0">
                <a:solidFill>
                  <a:srgbClr val="000000"/>
                </a:solidFill>
                <a:latin typeface="Calibri"/>
              </a:rPr>
              <a:t>Number Countries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777559D5-F566-77A2-8592-F432177ADB05}"/>
              </a:ext>
            </a:extLst>
          </p:cNvPr>
          <p:cNvSpPr/>
          <p:nvPr/>
        </p:nvSpPr>
        <p:spPr>
          <a:xfrm>
            <a:off x="296854" y="1507205"/>
            <a:ext cx="1077949" cy="954107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algn="just" defTabSz="914400"/>
            <a:r>
              <a:rPr lang="en-GB" sz="1400" b="1" u="sng" kern="0" dirty="0">
                <a:solidFill>
                  <a:srgbClr val="000000"/>
                </a:solidFill>
                <a:latin typeface="Calibri"/>
              </a:rPr>
              <a:t>Proportion Countries Adopting Dual RDT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CE7CB65-4106-C48B-D674-79E39C3530C6}"/>
              </a:ext>
            </a:extLst>
          </p:cNvPr>
          <p:cNvSpPr/>
          <p:nvPr/>
        </p:nvSpPr>
        <p:spPr>
          <a:xfrm>
            <a:off x="1374803" y="2050956"/>
            <a:ext cx="615505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2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2680B9F-AF37-23FF-836F-55BB1F9B71C6}"/>
              </a:ext>
            </a:extLst>
          </p:cNvPr>
          <p:cNvSpPr/>
          <p:nvPr/>
        </p:nvSpPr>
        <p:spPr>
          <a:xfrm>
            <a:off x="3180089" y="2050956"/>
            <a:ext cx="615505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7%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D609FC6-5FC6-E552-FC9C-94F2ACB577E3}"/>
              </a:ext>
            </a:extLst>
          </p:cNvPr>
          <p:cNvSpPr/>
          <p:nvPr/>
        </p:nvSpPr>
        <p:spPr>
          <a:xfrm>
            <a:off x="5044897" y="2050956"/>
            <a:ext cx="615505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B110D7C-9C43-B15C-5C5D-116938ED58BD}"/>
              </a:ext>
            </a:extLst>
          </p:cNvPr>
          <p:cNvSpPr/>
          <p:nvPr/>
        </p:nvSpPr>
        <p:spPr>
          <a:xfrm>
            <a:off x="6906328" y="2050956"/>
            <a:ext cx="615505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%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C894B71-FBB7-2886-A241-F8F2A1A99C47}"/>
              </a:ext>
            </a:extLst>
          </p:cNvPr>
          <p:cNvSpPr/>
          <p:nvPr/>
        </p:nvSpPr>
        <p:spPr>
          <a:xfrm>
            <a:off x="8736336" y="2050956"/>
            <a:ext cx="615505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30CEDD7-5B77-EFF5-8FBB-24BD6E89E635}"/>
              </a:ext>
            </a:extLst>
          </p:cNvPr>
          <p:cNvSpPr/>
          <p:nvPr/>
        </p:nvSpPr>
        <p:spPr>
          <a:xfrm>
            <a:off x="10591832" y="2050956"/>
            <a:ext cx="615505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3%</a:t>
            </a:r>
          </a:p>
        </p:txBody>
      </p:sp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8A02A62B-7E1C-CC4C-93AB-0865457C2B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7069485"/>
              </p:ext>
            </p:extLst>
          </p:nvPr>
        </p:nvGraphicFramePr>
        <p:xfrm>
          <a:off x="571500" y="2133573"/>
          <a:ext cx="11410949" cy="2800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878BF2F4-523C-79DC-313D-D2D316AA535C}"/>
              </a:ext>
            </a:extLst>
          </p:cNvPr>
          <p:cNvCxnSpPr>
            <a:cxnSpLocks/>
          </p:cNvCxnSpPr>
          <p:nvPr/>
        </p:nvCxnSpPr>
        <p:spPr bwMode="auto">
          <a:xfrm>
            <a:off x="1610683" y="1835927"/>
            <a:ext cx="9720000" cy="0"/>
          </a:xfrm>
          <a:prstGeom prst="line">
            <a:avLst/>
          </a:prstGeom>
          <a:solidFill>
            <a:srgbClr val="99CCFF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37581AB7-32F3-86DF-43D9-B2CE60D8A471}"/>
              </a:ext>
            </a:extLst>
          </p:cNvPr>
          <p:cNvSpPr txBox="1"/>
          <p:nvPr/>
        </p:nvSpPr>
        <p:spPr>
          <a:xfrm>
            <a:off x="1533525" y="1119421"/>
            <a:ext cx="9886950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untry adoption of Dual HIV/syphilis test in ANC,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June 2022 status by WHO region)</a:t>
            </a: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E0743E5E-72A4-85B3-383C-2014E804FD87}"/>
              </a:ext>
            </a:extLst>
          </p:cNvPr>
          <p:cNvSpPr/>
          <p:nvPr/>
        </p:nvSpPr>
        <p:spPr>
          <a:xfrm>
            <a:off x="1095375" y="5509167"/>
            <a:ext cx="10325100" cy="84721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2060"/>
              </a:buClr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cent WHO data shows 33% (63/194) of reporting countries have reported adoption of dual HIV/syphilis test for pregnant women ANC</a:t>
            </a:r>
            <a:endParaRPr lang="en-US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756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DE7F224-C7E3-BB32-0F31-EECF44C3F777}"/>
              </a:ext>
            </a:extLst>
          </p:cNvPr>
          <p:cNvSpPr/>
          <p:nvPr/>
        </p:nvSpPr>
        <p:spPr>
          <a:xfrm>
            <a:off x="116958" y="2668772"/>
            <a:ext cx="10154093" cy="14779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0335701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IDS2022">
  <a:themeElements>
    <a:clrScheme name="AIDS 2022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76382"/>
      </a:accent1>
      <a:accent2>
        <a:srgbClr val="FF890E"/>
      </a:accent2>
      <a:accent3>
        <a:srgbClr val="08BDBA"/>
      </a:accent3>
      <a:accent4>
        <a:srgbClr val="8A3FFC"/>
      </a:accent4>
      <a:accent5>
        <a:srgbClr val="346CFF"/>
      </a:accent5>
      <a:accent6>
        <a:srgbClr val="85CFE8"/>
      </a:accent6>
      <a:hlink>
        <a:srgbClr val="FF890E"/>
      </a:hlink>
      <a:folHlink>
        <a:srgbClr val="FF890E"/>
      </a:folHlink>
    </a:clrScheme>
    <a:fontScheme name="AIDS 2022 Verdana">
      <a:majorFont>
        <a:latin typeface="Verdana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C0F0990-FD9B-EF47-8C4E-2CE39BDBF648}" vid="{6AAAFDF1-C0D4-5D4B-9CA5-E1D52373A86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284A8C"/>
    </a:dk2>
    <a:lt2>
      <a:srgbClr val="B2B2B2"/>
    </a:lt2>
    <a:accent1>
      <a:srgbClr val="C3C3EB"/>
    </a:accent1>
    <a:accent2>
      <a:srgbClr val="C0D192"/>
    </a:accent2>
    <a:accent3>
      <a:srgbClr val="FFFFFF"/>
    </a:accent3>
    <a:accent4>
      <a:srgbClr val="000000"/>
    </a:accent4>
    <a:accent5>
      <a:srgbClr val="DEDEF3"/>
    </a:accent5>
    <a:accent6>
      <a:srgbClr val="AEBD84"/>
    </a:accent6>
    <a:hlink>
      <a:srgbClr val="788DCC"/>
    </a:hlink>
    <a:folHlink>
      <a:srgbClr val="BF071A"/>
    </a:folHlink>
  </a:clrScheme>
  <a:fontScheme name="Blank Presentation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T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 Them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HAI2">
    <a:dk1>
      <a:srgbClr val="000000"/>
    </a:dk1>
    <a:lt1>
      <a:srgbClr val="FFFFFF"/>
    </a:lt1>
    <a:dk2>
      <a:srgbClr val="262626"/>
    </a:dk2>
    <a:lt2>
      <a:srgbClr val="BFBFBF"/>
    </a:lt2>
    <a:accent1>
      <a:srgbClr val="3F3F3F"/>
    </a:accent1>
    <a:accent2>
      <a:srgbClr val="BFBFBF"/>
    </a:accent2>
    <a:accent3>
      <a:srgbClr val="002060"/>
    </a:accent3>
    <a:accent4>
      <a:srgbClr val="FF4F4F"/>
    </a:accent4>
    <a:accent5>
      <a:srgbClr val="339966"/>
    </a:accent5>
    <a:accent6>
      <a:srgbClr val="FFCC00"/>
    </a:accent6>
    <a:hlink>
      <a:srgbClr val="002D89"/>
    </a:hlink>
    <a:folHlink>
      <a:srgbClr val="9C9CDE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50929fa-9806-4449-af20-7947085fa170" xsi:nil="true"/>
    <lcf76f155ced4ddcb4097134ff3c332f xmlns="8f9d799d-7b27-4542-a589-fc3f0c3bda8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3F911BD2518E47AC082DA3DE8BFBE5" ma:contentTypeVersion="16" ma:contentTypeDescription="Create a new document." ma:contentTypeScope="" ma:versionID="c221146bbd20a14dad517a0387e2f0b0">
  <xsd:schema xmlns:xsd="http://www.w3.org/2001/XMLSchema" xmlns:xs="http://www.w3.org/2001/XMLSchema" xmlns:p="http://schemas.microsoft.com/office/2006/metadata/properties" xmlns:ns2="8f9d799d-7b27-4542-a589-fc3f0c3bda80" xmlns:ns3="250929fa-9806-4449-af20-7947085fa170" targetNamespace="http://schemas.microsoft.com/office/2006/metadata/properties" ma:root="true" ma:fieldsID="3a31dcb722add0f2e0d6fb0d2f719c7c" ns2:_="" ns3:_="">
    <xsd:import namespace="8f9d799d-7b27-4542-a589-fc3f0c3bda80"/>
    <xsd:import namespace="250929fa-9806-4449-af20-7947085fa17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9d799d-7b27-4542-a589-fc3f0c3bda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8752f36-f899-4024-97aa-312620fde4b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0929fa-9806-4449-af20-7947085fa17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8963c6f-ee03-4b2a-8221-928f9d265193}" ma:internalName="TaxCatchAll" ma:showField="CatchAllData" ma:web="250929fa-9806-4449-af20-7947085fa1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5E06B7-DDBB-4F17-98CB-021724843583}">
  <ds:schemaRefs>
    <ds:schemaRef ds:uri="http://purl.org/dc/dcmitype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elements/1.1/"/>
    <ds:schemaRef ds:uri="250929fa-9806-4449-af20-7947085fa170"/>
    <ds:schemaRef ds:uri="http://schemas.microsoft.com/office/2006/metadata/properties"/>
    <ds:schemaRef ds:uri="8f9d799d-7b27-4542-a589-fc3f0c3bda80"/>
  </ds:schemaRefs>
</ds:datastoreItem>
</file>

<file path=customXml/itemProps2.xml><?xml version="1.0" encoding="utf-8"?>
<ds:datastoreItem xmlns:ds="http://schemas.openxmlformats.org/officeDocument/2006/customXml" ds:itemID="{DDE358E3-F537-49EA-96FA-BFF5DD230B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457546-9CD2-461E-81B2-B83B0DBD04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9d799d-7b27-4542-a589-fc3f0c3bda80"/>
    <ds:schemaRef ds:uri="250929fa-9806-4449-af20-7947085fa1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IDS2022_Presentation Template</Template>
  <TotalTime>414</TotalTime>
  <Words>982</Words>
  <Application>Microsoft Office PowerPoint</Application>
  <PresentationFormat>Widescreen</PresentationFormat>
  <Paragraphs>163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Verdana</vt:lpstr>
      <vt:lpstr>Courier New</vt:lpstr>
      <vt:lpstr>Arial</vt:lpstr>
      <vt:lpstr>Wingdings</vt:lpstr>
      <vt:lpstr>Calibri</vt:lpstr>
      <vt:lpstr>AIDS2022</vt:lpstr>
      <vt:lpstr>think-cell Slide</vt:lpstr>
      <vt:lpstr>Conflict of interest disclosure</vt:lpstr>
      <vt:lpstr>The Catalytic Role of Dual HIV/Syphilis Rapid Diagnostic Tests In Accelerating National Elimination of Mother-To-Child-Transmission in Nigeria </vt:lpstr>
      <vt:lpstr>Globally, an estimated one million cases of syphilis in pregnant women cause 350K adverse birth outcomes</vt:lpstr>
      <vt:lpstr>A national syphilis seroprevalence survey revealed average national prevalence of syphilis in ANC of 0.7% with geographic disparities</vt:lpstr>
      <vt:lpstr>CHAI’s pilot demonstrated a pathway for introduction and scale up of dual HIV/syphilis RDTs</vt:lpstr>
      <vt:lpstr>Results from the pilot indicated high uptake and acceptability of Dual HIV/syphilis RDTs </vt:lpstr>
      <vt:lpstr>Following successes of the pilot, NASCP is scaling up Dual HIV/syphilis  RDT use to reach all Pregnant Women in Nigeria</vt:lpstr>
      <vt:lpstr>Evidence from Nigeria and other early adopter countries have led to growing momentum for Dual HIV/syphilis RDT scale u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flict of interest disclosure</dc:title>
  <dc:creator>Chiedozie Nwafor</dc:creator>
  <cp:lastModifiedBy>Andrew Storey</cp:lastModifiedBy>
  <cp:revision>9</cp:revision>
  <dcterms:created xsi:type="dcterms:W3CDTF">2022-07-15T10:23:41Z</dcterms:created>
  <dcterms:modified xsi:type="dcterms:W3CDTF">2022-07-22T20:3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3F911BD2518E47AC082DA3DE8BFBE5</vt:lpwstr>
  </property>
</Properties>
</file>